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676d1a8b54254ea5"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13"/>
  </p:notesMasterIdLst>
  <p:handoutMasterIdLst>
    <p:handoutMasterId r:id="rId14"/>
  </p:handoutMasterIdLst>
  <p:sldIdLst>
    <p:sldId id="11808" r:id="rId2"/>
    <p:sldId id="258" r:id="rId3"/>
    <p:sldId id="11814" r:id="rId4"/>
    <p:sldId id="11817" r:id="rId5"/>
    <p:sldId id="11818" r:id="rId6"/>
    <p:sldId id="11813" r:id="rId7"/>
    <p:sldId id="290" r:id="rId8"/>
    <p:sldId id="11250" r:id="rId9"/>
    <p:sldId id="267" r:id="rId10"/>
    <p:sldId id="270" r:id="rId11"/>
    <p:sldId id="260" r:id="rId12"/>
  </p:sldIdLst>
  <p:sldSz cx="9601200" cy="6858000"/>
  <p:notesSz cx="6858000" cy="9144000"/>
  <p:embeddedFontLst>
    <p:embeddedFont>
      <p:font typeface="Calibri" panose="020F0502020204030204" pitchFamily="34" charset="0"/>
      <p:regular r:id="rId15"/>
      <p:bold r:id="rId16"/>
      <p:italic r:id="rId17"/>
      <p:boldItalic r:id="rId18"/>
    </p:embeddedFont>
    <p:embeddedFont>
      <p:font typeface="Oswald Bold" panose="00000800000000000000" pitchFamily="2" charset="0"/>
      <p:bold r:id="rId19"/>
    </p:embeddedFont>
  </p:embeddedFont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tx1"/>
              </a:solidFill>
            </a:ln>
          </a:bottom>
          <a:insideH>
            <a:ln w="9525" cap="flat" cmpd="sng" algn="ctr">
              <a:solidFill>
                <a:schemeClr val="tx1"/>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99" autoAdjust="0"/>
    <p:restoredTop sz="94660"/>
  </p:normalViewPr>
  <p:slideViewPr>
    <p:cSldViewPr snapToGrid="0" showGuides="1">
      <p:cViewPr>
        <p:scale>
          <a:sx n="88" d="100"/>
          <a:sy n="88" d="100"/>
        </p:scale>
        <p:origin x="908" y="-6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font" Target="fonts/font4.fntdata"/><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3.fntdata"/><Relationship Id="rId2" Type="http://schemas.openxmlformats.org/officeDocument/2006/relationships/slide" Target="slides/slide1.xml"/><Relationship Id="rId16" Type="http://schemas.openxmlformats.org/officeDocument/2006/relationships/font" Target="fonts/font2.fntdata"/><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font" Target="fonts/font1.fntdata"/><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5.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GB" smtClean="0"/>
              <a:t>29/03/2022</a:t>
            </a:fld>
            <a:endParaRPr lang="en-GB"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GB" smtClean="0"/>
              <a:t>‹#›</a:t>
            </a:fld>
            <a:endParaRPr lang="en-GB"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GB" smtClean="0"/>
              <a:t>29/03/2022</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GB" smtClean="0"/>
              <a:t>‹#›</a:t>
            </a:fld>
            <a:endParaRPr lang="en-GB"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GB" smtClean="0"/>
              <a:t>2</a:t>
            </a:fld>
            <a:endParaRPr lang="en-GB" dirty="0"/>
          </a:p>
        </p:txBody>
      </p:sp>
    </p:spTree>
    <p:extLst>
      <p:ext uri="{BB962C8B-B14F-4D97-AF65-F5344CB8AC3E}">
        <p14:creationId xmlns:p14="http://schemas.microsoft.com/office/powerpoint/2010/main" val="3835583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324DA73-AE27-4433-BD53-3E1DB61918F0}" type="slidenum">
              <a:rPr lang="en-GB" smtClean="0"/>
              <a:t>4</a:t>
            </a:fld>
            <a:endParaRPr lang="en-GB" dirty="0"/>
          </a:p>
        </p:txBody>
      </p:sp>
    </p:spTree>
    <p:extLst>
      <p:ext uri="{BB962C8B-B14F-4D97-AF65-F5344CB8AC3E}">
        <p14:creationId xmlns:p14="http://schemas.microsoft.com/office/powerpoint/2010/main" val="868545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324DA73-AE27-4433-BD53-3E1DB61918F0}" type="slidenum">
              <a:rPr lang="en-GB" smtClean="0"/>
              <a:t>5</a:t>
            </a:fld>
            <a:endParaRPr lang="en-GB" dirty="0"/>
          </a:p>
        </p:txBody>
      </p:sp>
    </p:spTree>
    <p:extLst>
      <p:ext uri="{BB962C8B-B14F-4D97-AF65-F5344CB8AC3E}">
        <p14:creationId xmlns:p14="http://schemas.microsoft.com/office/powerpoint/2010/main" val="2037814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endParaRPr lang="en-US" dirty="0"/>
          </a:p>
        </p:txBody>
      </p:sp>
    </p:spTree>
    <p:extLst>
      <p:ext uri="{BB962C8B-B14F-4D97-AF65-F5344CB8AC3E}">
        <p14:creationId xmlns:p14="http://schemas.microsoft.com/office/powerpoint/2010/main" val="2158943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endParaRPr lang="en-US" dirty="0"/>
          </a:p>
        </p:txBody>
      </p:sp>
    </p:spTree>
    <p:extLst>
      <p:ext uri="{BB962C8B-B14F-4D97-AF65-F5344CB8AC3E}">
        <p14:creationId xmlns:p14="http://schemas.microsoft.com/office/powerpoint/2010/main" val="275343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4DA73-AE27-4433-BD53-3E1DB61918F0}" type="slidenum">
              <a:rPr lang="en-GB" smtClean="0"/>
              <a:t>9</a:t>
            </a:fld>
            <a:endParaRPr lang="en-GB" dirty="0"/>
          </a:p>
        </p:txBody>
      </p:sp>
    </p:spTree>
    <p:extLst>
      <p:ext uri="{BB962C8B-B14F-4D97-AF65-F5344CB8AC3E}">
        <p14:creationId xmlns:p14="http://schemas.microsoft.com/office/powerpoint/2010/main" val="2468358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24DA73-AE27-4433-BD53-3E1DB61918F0}" type="slidenum">
              <a:rPr lang="en-GB" smtClean="0"/>
              <a:t>10</a:t>
            </a:fld>
            <a:endParaRPr lang="en-GB" dirty="0"/>
          </a:p>
        </p:txBody>
      </p:sp>
    </p:spTree>
    <p:extLst>
      <p:ext uri="{BB962C8B-B14F-4D97-AF65-F5344CB8AC3E}">
        <p14:creationId xmlns:p14="http://schemas.microsoft.com/office/powerpoint/2010/main" val="178616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GB" smtClean="0"/>
              <a:t>11</a:t>
            </a:fld>
            <a:endParaRPr lang="en-GB" dirty="0"/>
          </a:p>
        </p:txBody>
      </p:sp>
    </p:spTree>
    <p:extLst>
      <p:ext uri="{BB962C8B-B14F-4D97-AF65-F5344CB8AC3E}">
        <p14:creationId xmlns:p14="http://schemas.microsoft.com/office/powerpoint/2010/main" val="3537287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2057400"/>
            <a:ext cx="8686800" cy="2772682"/>
          </a:xfrm>
        </p:spPr>
        <p:txBody>
          <a:bodyPr lIns="0" tIns="0" rIns="0" bIns="0" anchor="b">
            <a:spAutoFit/>
          </a:bodyPr>
          <a:lstStyle>
            <a:lvl1pPr marL="0" indent="0" fontAlgn="base">
              <a:lnSpc>
                <a:spcPct val="91000"/>
              </a:lnSpc>
              <a:spcBef>
                <a:spcPts val="0"/>
              </a:spcBef>
              <a:spcAft>
                <a:spcPts val="0"/>
              </a:spcAft>
              <a:buFont typeface="Arial" panose="020B0604020202020204" pitchFamily="34" charset="0"/>
              <a:buChar char="​"/>
              <a:defRPr sz="6600" cap="all">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lang="en-GB"/>
              <a:t>Type your Title in no more than three lines</a:t>
            </a:r>
            <a:endParaRPr lang="en-GB" dirty="0"/>
          </a:p>
        </p:txBody>
      </p:sp>
      <p:sp>
        <p:nvSpPr>
          <p:cNvPr id="3" name="Subtitle"/>
          <p:cNvSpPr>
            <a:spLocks noGrp="1"/>
          </p:cNvSpPr>
          <p:nvPr>
            <p:ph type="body" sz="quarter" idx="11" hasCustomPrompt="1"/>
          </p:nvPr>
        </p:nvSpPr>
        <p:spPr>
          <a:xfrm>
            <a:off x="457200" y="4830082"/>
            <a:ext cx="8686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GB"/>
              <a:t>Type your subtitle here</a:t>
            </a:r>
            <a:endParaRPr lang="en-GB" dirty="0"/>
          </a:p>
        </p:txBody>
      </p:sp>
      <p:sp>
        <p:nvSpPr>
          <p:cNvPr id="4" name="Presenter"/>
          <p:cNvSpPr>
            <a:spLocks noGrp="1"/>
          </p:cNvSpPr>
          <p:nvPr>
            <p:ph type="body" sz="quarter" idx="13" hasCustomPrompt="1"/>
          </p:nvPr>
        </p:nvSpPr>
        <p:spPr>
          <a:xfrm>
            <a:off x="457200" y="5754469"/>
            <a:ext cx="8686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GB"/>
              <a:t>Date</a:t>
            </a:r>
            <a:br>
              <a:rPr lang="en-GB"/>
            </a:br>
            <a:br>
              <a:rPr lang="en-GB"/>
            </a:br>
            <a:r>
              <a:rPr lang="en-GB"/>
              <a:t>Presenter, Location (optional) | Presenter 2, Location 2 (optional) | etc.</a:t>
            </a:r>
            <a:endParaRPr lang="en-GB" dirty="0"/>
          </a:p>
        </p:txBody>
      </p:sp>
      <p:sp>
        <p:nvSpPr>
          <p:cNvPr id="23" name="Client Logo"/>
          <p:cNvSpPr>
            <a:spLocks noGrp="1"/>
          </p:cNvSpPr>
          <p:nvPr>
            <p:ph type="pic" sz="quarter" idx="12" hasCustomPrompt="1"/>
          </p:nvPr>
        </p:nvSpPr>
        <p:spPr bwMode="gray">
          <a:xfrm>
            <a:off x="6624637" y="393192"/>
            <a:ext cx="2516188"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GB"/>
              <a:t>CLIENT LOGO PLACEHOLDER</a:t>
            </a:r>
            <a:br>
              <a:rPr lang="en-GB"/>
            </a:br>
            <a:r>
              <a:rPr lang="en-GB"/>
              <a:t>Delete box if no client logo is used</a:t>
            </a:r>
            <a:endParaRPr lang="en-GB" dirty="0"/>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lang="en-GB" sz="1000" b="1" cap="all" dirty="0">
              <a:solidFill>
                <a:schemeClr val="tx1"/>
              </a:solidFill>
            </a:endParaRPr>
          </a:p>
        </p:txBody>
      </p:sp>
      <p:pic>
        <p:nvPicPr>
          <p:cNvPr id="6" name="CompanyLogo"/>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0375" y="393192"/>
            <a:ext cx="3086100" cy="276225"/>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rPr dirty="0"/>
              <a:t>Heading 12 pt</a:t>
            </a:r>
          </a:p>
          <a:p>
            <a:pPr lvl="1"/>
            <a:r>
              <a:rPr dirty="0"/>
              <a:t>Subheading 12 pt</a:t>
            </a:r>
          </a:p>
        </p:txBody>
      </p:sp>
      <p:sp>
        <p:nvSpPr>
          <p:cNvPr id="5" name="Heading Right"/>
          <p:cNvSpPr>
            <a:spLocks noGrp="1"/>
          </p:cNvSpPr>
          <p:nvPr>
            <p:ph type="body" sz="quarter" idx="13" hasCustomPrompt="1"/>
          </p:nvPr>
        </p:nvSpPr>
        <p:spPr>
          <a:xfrm>
            <a:off x="5029200" y="139903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rPr dirty="0"/>
              <a:t>Heading 12 pt</a:t>
            </a:r>
          </a:p>
          <a:p>
            <a:pPr lvl="1"/>
            <a:r>
              <a:rPr dirty="0"/>
              <a:t>Subheading 12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sz="half" idx="11"/>
          </p:nvPr>
        </p:nvSpPr>
        <p:spPr>
          <a:xfrm>
            <a:off x="457200" y="1883664"/>
            <a:ext cx="4114800"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5029200" y="139903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Right"/>
          <p:cNvSpPr>
            <a:spLocks noGrp="1"/>
          </p:cNvSpPr>
          <p:nvPr>
            <p:ph sz="quarter" idx="12"/>
          </p:nvPr>
        </p:nvSpPr>
        <p:spPr>
          <a:xfrm>
            <a:off x="5029200" y="1883664"/>
            <a:ext cx="4114800"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8686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lvl3pPr>
            <a:lvl4pPr marL="0" indent="0">
              <a:spcBef>
                <a:spcPts val="0"/>
              </a:spcBef>
              <a:buFont typeface="Arial" panose="020B0604020202020204" pitchFamily="34" charset="0"/>
              <a:buChar char="​"/>
              <a:defRPr sz="1200"/>
            </a:lvl4pPr>
            <a:lvl5pPr marL="0" indent="0">
              <a:spcBef>
                <a:spcPts val="0"/>
              </a:spcBef>
              <a:buFont typeface="Arial" panose="020B0604020202020204" pitchFamily="34" charset="0"/>
              <a:buChar char="​"/>
              <a:defRPr sz="1200"/>
            </a:lvl5pPr>
            <a:lvl6pPr marL="0" indent="0">
              <a:spcBef>
                <a:spcPts val="0"/>
              </a:spcBef>
              <a:buFont typeface="Arial" panose="020B0604020202020204" pitchFamily="34" charset="0"/>
              <a:buChar char="​"/>
              <a:defRPr sz="1200"/>
            </a:lvl6pPr>
            <a:lvl7pPr marL="0" indent="0">
              <a:spcBef>
                <a:spcPts val="0"/>
              </a:spcBef>
              <a:buFont typeface="Arial" panose="020B0604020202020204" pitchFamily="34" charset="0"/>
              <a:buChar char="​"/>
              <a:defRPr sz="1200"/>
            </a:lvl7pPr>
            <a:lvl8pPr marL="0" indent="0">
              <a:spcBef>
                <a:spcPts val="0"/>
              </a:spcBef>
              <a:buFont typeface="Arial" panose="020B0604020202020204" pitchFamily="34" charset="0"/>
              <a:buChar char="​"/>
              <a:defRPr sz="1200"/>
            </a:lvl8pPr>
            <a:lvl9pPr marL="0" indent="0">
              <a:spcBef>
                <a:spcPts val="0"/>
              </a:spcBef>
              <a:buFont typeface="Arial" panose="020B0604020202020204" pitchFamily="34" charset="0"/>
              <a:buChar char="​"/>
              <a:defRPr sz="1200"/>
            </a:lvl9pPr>
          </a:lstStyle>
          <a:p>
            <a:pPr lvl="0"/>
            <a:r>
              <a:t>Heading 12 pt</a:t>
            </a:r>
          </a:p>
          <a:p>
            <a:pPr lvl="1"/>
            <a:r>
              <a:t>Subheading 12 pt</a:t>
            </a:r>
          </a:p>
        </p:txBody>
      </p:sp>
      <p:sp>
        <p:nvSpPr>
          <p:cNvPr id="4" name="Content Top"/>
          <p:cNvSpPr>
            <a:spLocks noGrp="1"/>
          </p:cNvSpPr>
          <p:nvPr>
            <p:ph idx="11"/>
          </p:nvPr>
        </p:nvSpPr>
        <p:spPr>
          <a:xfrm>
            <a:off x="457200" y="1883664"/>
            <a:ext cx="8686800"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8686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lvl3pPr>
            <a:lvl4pPr marL="0" indent="0">
              <a:spcBef>
                <a:spcPts val="0"/>
              </a:spcBef>
              <a:buFont typeface="Arial" panose="020B0604020202020204" pitchFamily="34" charset="0"/>
              <a:buChar char="​"/>
              <a:defRPr sz="1200"/>
            </a:lvl4pPr>
            <a:lvl5pPr marL="0" indent="0">
              <a:spcBef>
                <a:spcPts val="0"/>
              </a:spcBef>
              <a:buFont typeface="Arial" panose="020B0604020202020204" pitchFamily="34" charset="0"/>
              <a:buChar char="​"/>
              <a:defRPr sz="1200"/>
            </a:lvl5pPr>
            <a:lvl6pPr marL="0" indent="0">
              <a:spcBef>
                <a:spcPts val="0"/>
              </a:spcBef>
              <a:buFont typeface="Arial" panose="020B0604020202020204" pitchFamily="34" charset="0"/>
              <a:buChar char="​"/>
              <a:defRPr sz="1200"/>
            </a:lvl6pPr>
            <a:lvl7pPr marL="0" indent="0">
              <a:spcBef>
                <a:spcPts val="0"/>
              </a:spcBef>
              <a:buFont typeface="Arial" panose="020B0604020202020204" pitchFamily="34" charset="0"/>
              <a:buChar char="​"/>
              <a:defRPr sz="1200"/>
            </a:lvl7pPr>
            <a:lvl8pPr marL="0" indent="0">
              <a:spcBef>
                <a:spcPts val="0"/>
              </a:spcBef>
              <a:buFont typeface="Arial" panose="020B0604020202020204" pitchFamily="34" charset="0"/>
              <a:buChar char="​"/>
              <a:defRPr sz="1200"/>
            </a:lvl8pPr>
            <a:lvl9pPr marL="0" indent="0">
              <a:spcBef>
                <a:spcPts val="0"/>
              </a:spcBef>
              <a:buFont typeface="Arial" panose="020B0604020202020204" pitchFamily="34" charset="0"/>
              <a:buChar char="​"/>
              <a:defRPr sz="1200"/>
            </a:lvl9pPr>
          </a:lstStyle>
          <a:p>
            <a:pPr lvl="0"/>
            <a:r>
              <a:t>Heading 12 pt</a:t>
            </a:r>
          </a:p>
          <a:p>
            <a:pPr lvl="1"/>
            <a:r>
              <a:t>Subheading 12 pt</a:t>
            </a:r>
          </a:p>
        </p:txBody>
      </p:sp>
      <p:sp>
        <p:nvSpPr>
          <p:cNvPr id="6" name="Content Bottom"/>
          <p:cNvSpPr>
            <a:spLocks noGrp="1"/>
          </p:cNvSpPr>
          <p:nvPr>
            <p:ph idx="12"/>
          </p:nvPr>
        </p:nvSpPr>
        <p:spPr>
          <a:xfrm>
            <a:off x="457200" y="4489704"/>
            <a:ext cx="8686800"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guide id="3" orient="horz" pos="2523">
          <p15:clr>
            <a:srgbClr val="FBAE40"/>
          </p15:clr>
        </p15:guide>
        <p15:guide id="4" orient="horz" pos="282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2587752"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3506724" y="1399032"/>
            <a:ext cx="2587752"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6556248" y="1399032"/>
            <a:ext cx="2587752"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5" name="Heading Middle"/>
          <p:cNvSpPr>
            <a:spLocks noGrp="1"/>
          </p:cNvSpPr>
          <p:nvPr>
            <p:ph type="body" sz="quarter"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7" name="Heading Right"/>
          <p:cNvSpPr>
            <a:spLocks noGrp="1"/>
          </p:cNvSpPr>
          <p:nvPr>
            <p:ph type="body" sz="quarter"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sz="half" idx="11"/>
          </p:nvPr>
        </p:nvSpPr>
        <p:spPr>
          <a:xfrm>
            <a:off x="457200"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p:cNvSpPr>
            <a:spLocks noGrp="1"/>
          </p:cNvSpPr>
          <p:nvPr>
            <p:ph sz="quarter" idx="12"/>
          </p:nvPr>
        </p:nvSpPr>
        <p:spPr>
          <a:xfrm>
            <a:off x="3506724"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p:cNvSpPr>
            <a:spLocks noGrp="1"/>
          </p:cNvSpPr>
          <p:nvPr>
            <p:ph sz="quarter" idx="14"/>
          </p:nvPr>
        </p:nvSpPr>
        <p:spPr>
          <a:xfrm>
            <a:off x="6556248"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sz="half" idx="11"/>
          </p:nvPr>
        </p:nvSpPr>
        <p:spPr>
          <a:xfrm>
            <a:off x="457200"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3506724" y="1399032"/>
            <a:ext cx="563727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Right"/>
          <p:cNvSpPr>
            <a:spLocks noGrp="1"/>
          </p:cNvSpPr>
          <p:nvPr>
            <p:ph sz="quarter" idx="12"/>
          </p:nvPr>
        </p:nvSpPr>
        <p:spPr>
          <a:xfrm>
            <a:off x="3506724" y="1883664"/>
            <a:ext cx="5637276"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63727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sz="half" idx="11"/>
          </p:nvPr>
        </p:nvSpPr>
        <p:spPr>
          <a:xfrm>
            <a:off x="457200" y="1883664"/>
            <a:ext cx="5637276"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Right"/>
          <p:cNvSpPr>
            <a:spLocks noGrp="1"/>
          </p:cNvSpPr>
          <p:nvPr>
            <p:ph sz="quarter" idx="12"/>
          </p:nvPr>
        </p:nvSpPr>
        <p:spPr>
          <a:xfrm>
            <a:off x="6556248"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4114800" cy="301752"/>
          </a:xfrm>
        </p:spPr>
        <p:txBody>
          <a:bodyPr/>
          <a:lstStyle>
            <a:lvl1pPr marL="0" indent="0">
              <a:spcBef>
                <a:spcPts val="0"/>
              </a:spcBef>
              <a:buFont typeface="Arial" panose="020B0604020202020204" pitchFamily="34" charset="0"/>
              <a:buChar char="​"/>
              <a:defRPr sz="1000" b="1">
                <a:solidFill>
                  <a:schemeClr val="tx1"/>
                </a:solidFill>
              </a:defRPr>
            </a:lvl1pPr>
            <a:lvl2pPr marL="0" indent="0">
              <a:spcBef>
                <a:spcPts val="0"/>
              </a:spcBef>
              <a:buFont typeface="Arial" panose="020B0604020202020204" pitchFamily="34" charset="0"/>
              <a:buChar char="​"/>
              <a:defRPr sz="1000">
                <a:solidFill>
                  <a:schemeClr val="tx1"/>
                </a:solidFill>
              </a:defRPr>
            </a:lvl2pPr>
            <a:lvl3pPr marL="0" indent="0">
              <a:spcBef>
                <a:spcPts val="0"/>
              </a:spcBef>
              <a:buFont typeface="Arial" panose="020B0604020202020204" pitchFamily="34" charset="0"/>
              <a:buChar char="​"/>
              <a:defRPr sz="1000">
                <a:solidFill>
                  <a:schemeClr val="tx1"/>
                </a:solidFill>
              </a:defRPr>
            </a:lvl3pPr>
            <a:lvl4pPr marL="0" indent="0">
              <a:spcBef>
                <a:spcPts val="0"/>
              </a:spcBef>
              <a:buFont typeface="Arial" panose="020B0604020202020204" pitchFamily="34" charset="0"/>
              <a:buChar char="​"/>
              <a:defRPr sz="1000">
                <a:solidFill>
                  <a:schemeClr val="tx1"/>
                </a:solidFill>
              </a:defRPr>
            </a:lvl4pPr>
            <a:lvl5pPr marL="0" indent="0">
              <a:spcBef>
                <a:spcPts val="0"/>
              </a:spcBef>
              <a:buFont typeface="Arial" panose="020B0604020202020204" pitchFamily="34" charset="0"/>
              <a:buChar char="​"/>
              <a:defRPr sz="1000">
                <a:solidFill>
                  <a:schemeClr val="tx1"/>
                </a:solidFill>
              </a:defRPr>
            </a:lvl5pPr>
            <a:lvl6pPr marL="0" indent="0">
              <a:spcBef>
                <a:spcPts val="0"/>
              </a:spcBef>
              <a:buFont typeface="Arial" panose="020B0604020202020204" pitchFamily="34" charset="0"/>
              <a:buChar char="​"/>
              <a:defRPr sz="1000">
                <a:solidFill>
                  <a:schemeClr val="tx1"/>
                </a:solidFill>
              </a:defRPr>
            </a:lvl6pPr>
            <a:lvl7pPr marL="0" indent="0">
              <a:spcBef>
                <a:spcPts val="0"/>
              </a:spcBef>
              <a:buFont typeface="Arial" panose="020B0604020202020204" pitchFamily="34" charset="0"/>
              <a:buChar char="​"/>
              <a:defRPr sz="1000">
                <a:solidFill>
                  <a:schemeClr val="tx1"/>
                </a:solidFill>
              </a:defRPr>
            </a:lvl7pPr>
            <a:lvl8pPr marL="0" indent="0">
              <a:spcBef>
                <a:spcPts val="0"/>
              </a:spcBef>
              <a:buFont typeface="Arial" panose="020B0604020202020204" pitchFamily="34" charset="0"/>
              <a:buChar char="​"/>
              <a:defRPr sz="1000">
                <a:solidFill>
                  <a:schemeClr val="tx1"/>
                </a:solidFill>
              </a:defRPr>
            </a:lvl8pPr>
            <a:lvl9pPr marL="0" indent="0">
              <a:spcBef>
                <a:spcPts val="0"/>
              </a:spcBef>
              <a:buFont typeface="Arial" panose="020B0604020202020204" pitchFamily="34" charset="0"/>
              <a:buChar char="​"/>
              <a:defRPr sz="1000">
                <a:solidFill>
                  <a:schemeClr val="tx1"/>
                </a:solidFill>
              </a:defRPr>
            </a:lvl9pPr>
          </a:lstStyle>
          <a:p>
            <a:pPr lvl="0"/>
            <a:r>
              <a:t>Heading 10 pt</a:t>
            </a:r>
          </a:p>
          <a:p>
            <a:pPr lvl="1"/>
            <a:r>
              <a:t>Subheading 10 pt</a:t>
            </a:r>
          </a:p>
        </p:txBody>
      </p:sp>
      <p:sp>
        <p:nvSpPr>
          <p:cNvPr id="4" name="Content Left Top"/>
          <p:cNvSpPr>
            <a:spLocks noGrp="1"/>
          </p:cNvSpPr>
          <p:nvPr>
            <p:ph sz="quarter" idx="11"/>
          </p:nvPr>
        </p:nvSpPr>
        <p:spPr>
          <a:xfrm>
            <a:off x="457200" y="1883664"/>
            <a:ext cx="4114800" cy="1911096"/>
          </a:xfrm>
        </p:spPr>
        <p:txBody>
          <a:bodyPr/>
          <a:lstStyle>
            <a:lvl1pPr marL="108000" indent="-108000">
              <a:spcBef>
                <a:spcPts val="500"/>
              </a:spcBef>
              <a:defRPr sz="1000"/>
            </a:lvl1pPr>
            <a:lvl2pPr marL="216000" indent="-108000">
              <a:spcBef>
                <a:spcPts val="200"/>
              </a:spcBef>
              <a:defRPr sz="1000"/>
            </a:lvl2pPr>
            <a:lvl3pPr marL="324000" indent="-108000">
              <a:spcBef>
                <a:spcPts val="200"/>
              </a:spcBef>
              <a:defRPr sz="1000"/>
            </a:lvl3pPr>
            <a:lvl4pPr marL="432000" indent="-108000">
              <a:spcBef>
                <a:spcPts val="200"/>
              </a:spcBef>
              <a:defRPr sz="1000"/>
            </a:lvl4pPr>
            <a:lvl5pPr marL="540000" indent="-108000">
              <a:spcBef>
                <a:spcPts val="200"/>
              </a:spcBef>
              <a:defRPr sz="1000"/>
            </a:lvl5pPr>
            <a:lvl6pPr marL="648000" indent="-108000">
              <a:spcBef>
                <a:spcPts val="200"/>
              </a:spcBef>
              <a:defRPr sz="1000"/>
            </a:lvl6pPr>
            <a:lvl7pPr marL="756000" indent="-108000">
              <a:spcBef>
                <a:spcPts val="200"/>
              </a:spcBef>
              <a:defRPr sz="1000"/>
            </a:lvl7pPr>
            <a:lvl8pPr marL="864000" indent="-108000">
              <a:spcBef>
                <a:spcPts val="200"/>
              </a:spcBef>
              <a:defRPr sz="1000"/>
            </a:lvl8pPr>
            <a:lvl9pPr marL="972000" indent="-108000">
              <a:spcBef>
                <a:spcPts val="200"/>
              </a:spcBef>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5029200" y="1399032"/>
            <a:ext cx="4114800" cy="301752"/>
          </a:xfrm>
        </p:spPr>
        <p:txBody>
          <a:bodyPr/>
          <a:lstStyle>
            <a:lvl1pPr marL="0" indent="0">
              <a:spcBef>
                <a:spcPts val="0"/>
              </a:spcBef>
              <a:buFont typeface="Arial" panose="020B0604020202020204" pitchFamily="34" charset="0"/>
              <a:buChar char="​"/>
              <a:defRPr sz="1000" b="1">
                <a:solidFill>
                  <a:schemeClr val="tx1"/>
                </a:solidFill>
              </a:defRPr>
            </a:lvl1pPr>
            <a:lvl2pPr marL="0" indent="0">
              <a:spcBef>
                <a:spcPts val="0"/>
              </a:spcBef>
              <a:buFont typeface="Arial" panose="020B0604020202020204" pitchFamily="34" charset="0"/>
              <a:buChar char="​"/>
              <a:defRPr sz="1000">
                <a:solidFill>
                  <a:schemeClr val="tx1"/>
                </a:solidFill>
              </a:defRPr>
            </a:lvl2pPr>
            <a:lvl3pPr marL="0" indent="0">
              <a:spcBef>
                <a:spcPts val="0"/>
              </a:spcBef>
              <a:buFont typeface="Arial" panose="020B0604020202020204" pitchFamily="34" charset="0"/>
              <a:buChar char="​"/>
              <a:defRPr sz="1000">
                <a:solidFill>
                  <a:schemeClr val="tx1"/>
                </a:solidFill>
              </a:defRPr>
            </a:lvl3pPr>
            <a:lvl4pPr marL="0" indent="0">
              <a:spcBef>
                <a:spcPts val="0"/>
              </a:spcBef>
              <a:buFont typeface="Arial" panose="020B0604020202020204" pitchFamily="34" charset="0"/>
              <a:buChar char="​"/>
              <a:defRPr sz="1000">
                <a:solidFill>
                  <a:schemeClr val="tx1"/>
                </a:solidFill>
              </a:defRPr>
            </a:lvl4pPr>
            <a:lvl5pPr marL="0" indent="0">
              <a:spcBef>
                <a:spcPts val="0"/>
              </a:spcBef>
              <a:buFont typeface="Arial" panose="020B0604020202020204" pitchFamily="34" charset="0"/>
              <a:buChar char="​"/>
              <a:defRPr sz="1000">
                <a:solidFill>
                  <a:schemeClr val="tx1"/>
                </a:solidFill>
              </a:defRPr>
            </a:lvl5pPr>
            <a:lvl6pPr marL="0" indent="0">
              <a:spcBef>
                <a:spcPts val="0"/>
              </a:spcBef>
              <a:buFont typeface="Arial" panose="020B0604020202020204" pitchFamily="34" charset="0"/>
              <a:buChar char="​"/>
              <a:defRPr sz="1000">
                <a:solidFill>
                  <a:schemeClr val="tx1"/>
                </a:solidFill>
              </a:defRPr>
            </a:lvl6pPr>
            <a:lvl7pPr marL="0" indent="0">
              <a:spcBef>
                <a:spcPts val="0"/>
              </a:spcBef>
              <a:buFont typeface="Arial" panose="020B0604020202020204" pitchFamily="34" charset="0"/>
              <a:buChar char="​"/>
              <a:defRPr sz="1000">
                <a:solidFill>
                  <a:schemeClr val="tx1"/>
                </a:solidFill>
              </a:defRPr>
            </a:lvl7pPr>
            <a:lvl8pPr marL="0" indent="0">
              <a:spcBef>
                <a:spcPts val="0"/>
              </a:spcBef>
              <a:buFont typeface="Arial" panose="020B0604020202020204" pitchFamily="34" charset="0"/>
              <a:buChar char="​"/>
              <a:defRPr sz="1000">
                <a:solidFill>
                  <a:schemeClr val="tx1"/>
                </a:solidFill>
              </a:defRPr>
            </a:lvl8pPr>
            <a:lvl9pPr marL="0" indent="0">
              <a:spcBef>
                <a:spcPts val="0"/>
              </a:spcBef>
              <a:buFont typeface="Arial" panose="020B0604020202020204" pitchFamily="34" charset="0"/>
              <a:buChar char="​"/>
              <a:defRPr sz="1000">
                <a:solidFill>
                  <a:schemeClr val="tx1"/>
                </a:solidFill>
              </a:defRPr>
            </a:lvl9pPr>
          </a:lstStyle>
          <a:p>
            <a:pPr lvl="0"/>
            <a:r>
              <a:t>Heading 10 pt</a:t>
            </a:r>
          </a:p>
          <a:p>
            <a:pPr lvl="1"/>
            <a:r>
              <a:t>Subheading 10 pt</a:t>
            </a:r>
          </a:p>
        </p:txBody>
      </p:sp>
      <p:sp>
        <p:nvSpPr>
          <p:cNvPr id="6" name="Content Right Top"/>
          <p:cNvSpPr>
            <a:spLocks noGrp="1"/>
          </p:cNvSpPr>
          <p:nvPr>
            <p:ph sz="quarter" idx="12"/>
          </p:nvPr>
        </p:nvSpPr>
        <p:spPr>
          <a:xfrm>
            <a:off x="5029200" y="1883664"/>
            <a:ext cx="4114800" cy="1911096"/>
          </a:xfrm>
        </p:spPr>
        <p:txBody>
          <a:bodyPr/>
          <a:lstStyle>
            <a:lvl1pPr marL="108000" indent="-108000">
              <a:spcBef>
                <a:spcPts val="500"/>
              </a:spcBef>
              <a:defRPr sz="1000"/>
            </a:lvl1pPr>
            <a:lvl2pPr marL="216000" indent="-108000">
              <a:spcBef>
                <a:spcPts val="200"/>
              </a:spcBef>
              <a:defRPr sz="1000"/>
            </a:lvl2pPr>
            <a:lvl3pPr marL="324000" indent="-108000">
              <a:spcBef>
                <a:spcPts val="200"/>
              </a:spcBef>
              <a:defRPr sz="1000"/>
            </a:lvl3pPr>
            <a:lvl4pPr marL="432000" indent="-108000">
              <a:spcBef>
                <a:spcPts val="200"/>
              </a:spcBef>
              <a:defRPr sz="1000"/>
            </a:lvl4pPr>
            <a:lvl5pPr marL="540000" indent="-108000">
              <a:spcBef>
                <a:spcPts val="200"/>
              </a:spcBef>
              <a:defRPr sz="1000"/>
            </a:lvl5pPr>
            <a:lvl6pPr marL="648000" indent="-108000">
              <a:spcBef>
                <a:spcPts val="200"/>
              </a:spcBef>
              <a:defRPr sz="1000"/>
            </a:lvl6pPr>
            <a:lvl7pPr marL="756000" indent="-108000">
              <a:spcBef>
                <a:spcPts val="200"/>
              </a:spcBef>
              <a:defRPr sz="1000"/>
            </a:lvl7pPr>
            <a:lvl8pPr marL="864000" indent="-108000">
              <a:spcBef>
                <a:spcPts val="200"/>
              </a:spcBef>
              <a:defRPr sz="1000"/>
            </a:lvl8pPr>
            <a:lvl9pPr marL="972000" indent="-108000">
              <a:spcBef>
                <a:spcPts val="200"/>
              </a:spcBef>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4114800" cy="301752"/>
          </a:xfrm>
        </p:spPr>
        <p:txBody>
          <a:bodyPr/>
          <a:lstStyle>
            <a:lvl1pPr marL="0" indent="0">
              <a:spcBef>
                <a:spcPts val="0"/>
              </a:spcBef>
              <a:buFont typeface="Arial" panose="020B0604020202020204" pitchFamily="34" charset="0"/>
              <a:buChar char="​"/>
              <a:defRPr sz="1000" b="1">
                <a:solidFill>
                  <a:schemeClr val="tx1"/>
                </a:solidFill>
              </a:defRPr>
            </a:lvl1pPr>
            <a:lvl2pPr marL="0" indent="0">
              <a:spcBef>
                <a:spcPts val="0"/>
              </a:spcBef>
              <a:buFont typeface="Arial" panose="020B0604020202020204" pitchFamily="34" charset="0"/>
              <a:buChar char="​"/>
              <a:defRPr sz="1000">
                <a:solidFill>
                  <a:schemeClr val="tx1"/>
                </a:solidFill>
              </a:defRPr>
            </a:lvl2pPr>
            <a:lvl3pPr marL="0" indent="0">
              <a:spcBef>
                <a:spcPts val="0"/>
              </a:spcBef>
              <a:buFont typeface="Arial" panose="020B0604020202020204" pitchFamily="34" charset="0"/>
              <a:buChar char="​"/>
              <a:defRPr sz="1000">
                <a:solidFill>
                  <a:schemeClr val="tx1"/>
                </a:solidFill>
              </a:defRPr>
            </a:lvl3pPr>
            <a:lvl4pPr marL="0" indent="0">
              <a:spcBef>
                <a:spcPts val="0"/>
              </a:spcBef>
              <a:buFont typeface="Arial" panose="020B0604020202020204" pitchFamily="34" charset="0"/>
              <a:buChar char="​"/>
              <a:defRPr sz="1000">
                <a:solidFill>
                  <a:schemeClr val="tx1"/>
                </a:solidFill>
              </a:defRPr>
            </a:lvl4pPr>
            <a:lvl5pPr marL="0" indent="0">
              <a:spcBef>
                <a:spcPts val="0"/>
              </a:spcBef>
              <a:buFont typeface="Arial" panose="020B0604020202020204" pitchFamily="34" charset="0"/>
              <a:buChar char="​"/>
              <a:defRPr sz="1000">
                <a:solidFill>
                  <a:schemeClr val="tx1"/>
                </a:solidFill>
              </a:defRPr>
            </a:lvl5pPr>
            <a:lvl6pPr marL="0" indent="0">
              <a:spcBef>
                <a:spcPts val="0"/>
              </a:spcBef>
              <a:buFont typeface="Arial" panose="020B0604020202020204" pitchFamily="34" charset="0"/>
              <a:buChar char="​"/>
              <a:defRPr sz="1000">
                <a:solidFill>
                  <a:schemeClr val="tx1"/>
                </a:solidFill>
              </a:defRPr>
            </a:lvl6pPr>
            <a:lvl7pPr marL="0" indent="0">
              <a:spcBef>
                <a:spcPts val="0"/>
              </a:spcBef>
              <a:buFont typeface="Arial" panose="020B0604020202020204" pitchFamily="34" charset="0"/>
              <a:buChar char="​"/>
              <a:defRPr sz="1000">
                <a:solidFill>
                  <a:schemeClr val="tx1"/>
                </a:solidFill>
              </a:defRPr>
            </a:lvl7pPr>
            <a:lvl8pPr marL="0" indent="0">
              <a:spcBef>
                <a:spcPts val="0"/>
              </a:spcBef>
              <a:buFont typeface="Arial" panose="020B0604020202020204" pitchFamily="34" charset="0"/>
              <a:buChar char="​"/>
              <a:defRPr sz="1000">
                <a:solidFill>
                  <a:schemeClr val="tx1"/>
                </a:solidFill>
              </a:defRPr>
            </a:lvl8pPr>
            <a:lvl9pPr marL="0" indent="0">
              <a:spcBef>
                <a:spcPts val="0"/>
              </a:spcBef>
              <a:buFont typeface="Arial" panose="020B0604020202020204" pitchFamily="34" charset="0"/>
              <a:buChar char="​"/>
              <a:defRPr sz="1000">
                <a:solidFill>
                  <a:schemeClr val="tx1"/>
                </a:solidFill>
              </a:defRPr>
            </a:lvl9pPr>
          </a:lstStyle>
          <a:p>
            <a:pPr lvl="0"/>
            <a:r>
              <a:t>Heading 10 pt</a:t>
            </a:r>
          </a:p>
          <a:p>
            <a:pPr lvl="1"/>
            <a:r>
              <a:t>Subheading 10 pt</a:t>
            </a:r>
          </a:p>
        </p:txBody>
      </p:sp>
      <p:sp>
        <p:nvSpPr>
          <p:cNvPr id="8" name="Content Left Bottom"/>
          <p:cNvSpPr>
            <a:spLocks noGrp="1"/>
          </p:cNvSpPr>
          <p:nvPr>
            <p:ph sz="quarter" idx="14"/>
          </p:nvPr>
        </p:nvSpPr>
        <p:spPr>
          <a:xfrm>
            <a:off x="457200" y="4489704"/>
            <a:ext cx="4114800" cy="1911096"/>
          </a:xfrm>
        </p:spPr>
        <p:txBody>
          <a:bodyPr/>
          <a:lstStyle>
            <a:lvl1pPr marL="108000" indent="-108000">
              <a:spcBef>
                <a:spcPts val="500"/>
              </a:spcBef>
              <a:defRPr sz="1000"/>
            </a:lvl1pPr>
            <a:lvl2pPr marL="216000" indent="-108000">
              <a:spcBef>
                <a:spcPts val="200"/>
              </a:spcBef>
              <a:defRPr sz="1000"/>
            </a:lvl2pPr>
            <a:lvl3pPr marL="324000" indent="-108000">
              <a:spcBef>
                <a:spcPts val="200"/>
              </a:spcBef>
              <a:defRPr sz="1000"/>
            </a:lvl3pPr>
            <a:lvl4pPr marL="432000" indent="-108000">
              <a:spcBef>
                <a:spcPts val="200"/>
              </a:spcBef>
              <a:defRPr sz="1000"/>
            </a:lvl4pPr>
            <a:lvl5pPr marL="540000" indent="-108000">
              <a:spcBef>
                <a:spcPts val="200"/>
              </a:spcBef>
              <a:defRPr sz="1000"/>
            </a:lvl5pPr>
            <a:lvl6pPr marL="648000" indent="-108000">
              <a:spcBef>
                <a:spcPts val="200"/>
              </a:spcBef>
              <a:defRPr sz="1000"/>
            </a:lvl6pPr>
            <a:lvl7pPr marL="756000" indent="-108000">
              <a:spcBef>
                <a:spcPts val="200"/>
              </a:spcBef>
              <a:defRPr sz="1000"/>
            </a:lvl7pPr>
            <a:lvl8pPr marL="864000" indent="-108000">
              <a:spcBef>
                <a:spcPts val="200"/>
              </a:spcBef>
              <a:defRPr sz="1000"/>
            </a:lvl8pPr>
            <a:lvl9pPr marL="972000" indent="-108000">
              <a:spcBef>
                <a:spcPts val="200"/>
              </a:spcBef>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5029200" y="4005072"/>
            <a:ext cx="4114800" cy="301752"/>
          </a:xfrm>
        </p:spPr>
        <p:txBody>
          <a:bodyPr/>
          <a:lstStyle>
            <a:lvl1pPr marL="0" indent="0">
              <a:spcBef>
                <a:spcPts val="0"/>
              </a:spcBef>
              <a:buFont typeface="Arial" panose="020B0604020202020204" pitchFamily="34" charset="0"/>
              <a:buChar char="​"/>
              <a:defRPr sz="1000" b="1">
                <a:solidFill>
                  <a:schemeClr val="tx1"/>
                </a:solidFill>
              </a:defRPr>
            </a:lvl1pPr>
            <a:lvl2pPr marL="0" indent="0">
              <a:spcBef>
                <a:spcPts val="0"/>
              </a:spcBef>
              <a:buFont typeface="Arial" panose="020B0604020202020204" pitchFamily="34" charset="0"/>
              <a:buChar char="​"/>
              <a:defRPr sz="1000">
                <a:solidFill>
                  <a:schemeClr val="tx1"/>
                </a:solidFill>
              </a:defRPr>
            </a:lvl2pPr>
            <a:lvl3pPr marL="0" indent="0">
              <a:spcBef>
                <a:spcPts val="0"/>
              </a:spcBef>
              <a:buFont typeface="Arial" panose="020B0604020202020204" pitchFamily="34" charset="0"/>
              <a:buChar char="​"/>
              <a:defRPr sz="1000">
                <a:solidFill>
                  <a:schemeClr val="tx1"/>
                </a:solidFill>
              </a:defRPr>
            </a:lvl3pPr>
            <a:lvl4pPr marL="0" indent="0">
              <a:spcBef>
                <a:spcPts val="0"/>
              </a:spcBef>
              <a:buFont typeface="Arial" panose="020B0604020202020204" pitchFamily="34" charset="0"/>
              <a:buChar char="​"/>
              <a:defRPr sz="1000">
                <a:solidFill>
                  <a:schemeClr val="tx1"/>
                </a:solidFill>
              </a:defRPr>
            </a:lvl4pPr>
            <a:lvl5pPr marL="0" indent="0">
              <a:spcBef>
                <a:spcPts val="0"/>
              </a:spcBef>
              <a:buFont typeface="Arial" panose="020B0604020202020204" pitchFamily="34" charset="0"/>
              <a:buChar char="​"/>
              <a:defRPr sz="1000">
                <a:solidFill>
                  <a:schemeClr val="tx1"/>
                </a:solidFill>
              </a:defRPr>
            </a:lvl5pPr>
            <a:lvl6pPr marL="0" indent="0">
              <a:spcBef>
                <a:spcPts val="0"/>
              </a:spcBef>
              <a:buFont typeface="Arial" panose="020B0604020202020204" pitchFamily="34" charset="0"/>
              <a:buChar char="​"/>
              <a:defRPr sz="1000">
                <a:solidFill>
                  <a:schemeClr val="tx1"/>
                </a:solidFill>
              </a:defRPr>
            </a:lvl6pPr>
            <a:lvl7pPr marL="0" indent="0">
              <a:spcBef>
                <a:spcPts val="0"/>
              </a:spcBef>
              <a:buFont typeface="Arial" panose="020B0604020202020204" pitchFamily="34" charset="0"/>
              <a:buChar char="​"/>
              <a:defRPr sz="1000">
                <a:solidFill>
                  <a:schemeClr val="tx1"/>
                </a:solidFill>
              </a:defRPr>
            </a:lvl7pPr>
            <a:lvl8pPr marL="0" indent="0">
              <a:spcBef>
                <a:spcPts val="0"/>
              </a:spcBef>
              <a:buFont typeface="Arial" panose="020B0604020202020204" pitchFamily="34" charset="0"/>
              <a:buChar char="​"/>
              <a:defRPr sz="1000">
                <a:solidFill>
                  <a:schemeClr val="tx1"/>
                </a:solidFill>
              </a:defRPr>
            </a:lvl8pPr>
            <a:lvl9pPr marL="0" indent="0">
              <a:spcBef>
                <a:spcPts val="0"/>
              </a:spcBef>
              <a:buFont typeface="Arial" panose="020B0604020202020204" pitchFamily="34" charset="0"/>
              <a:buChar char="​"/>
              <a:defRPr sz="1000">
                <a:solidFill>
                  <a:schemeClr val="tx1"/>
                </a:solidFill>
              </a:defRPr>
            </a:lvl9pPr>
          </a:lstStyle>
          <a:p>
            <a:pPr lvl="0"/>
            <a:r>
              <a:t>Heading 10 pt</a:t>
            </a:r>
          </a:p>
          <a:p>
            <a:pPr lvl="1"/>
            <a:r>
              <a:t>Subheading 10 pt</a:t>
            </a:r>
          </a:p>
        </p:txBody>
      </p:sp>
      <p:sp>
        <p:nvSpPr>
          <p:cNvPr id="10" name="Content Right Bottom"/>
          <p:cNvSpPr>
            <a:spLocks noGrp="1"/>
          </p:cNvSpPr>
          <p:nvPr>
            <p:ph sz="quarter" idx="16"/>
          </p:nvPr>
        </p:nvSpPr>
        <p:spPr>
          <a:xfrm>
            <a:off x="5029200" y="4489704"/>
            <a:ext cx="4114800" cy="1911096"/>
          </a:xfrm>
        </p:spPr>
        <p:txBody>
          <a:bodyPr/>
          <a:lstStyle>
            <a:lvl1pPr marL="108000" indent="-108000">
              <a:spcBef>
                <a:spcPts val="500"/>
              </a:spcBef>
              <a:defRPr sz="1000"/>
            </a:lvl1pPr>
            <a:lvl2pPr marL="216000" indent="-108000">
              <a:spcBef>
                <a:spcPts val="200"/>
              </a:spcBef>
              <a:defRPr sz="1000"/>
            </a:lvl2pPr>
            <a:lvl3pPr marL="324000" indent="-108000">
              <a:spcBef>
                <a:spcPts val="200"/>
              </a:spcBef>
              <a:defRPr sz="1000"/>
            </a:lvl3pPr>
            <a:lvl4pPr marL="432000" indent="-108000">
              <a:spcBef>
                <a:spcPts val="200"/>
              </a:spcBef>
              <a:defRPr sz="1000"/>
            </a:lvl4pPr>
            <a:lvl5pPr marL="540000" indent="-108000">
              <a:spcBef>
                <a:spcPts val="200"/>
              </a:spcBef>
              <a:defRPr sz="1000"/>
            </a:lvl5pPr>
            <a:lvl6pPr marL="648000" indent="-108000">
              <a:spcBef>
                <a:spcPts val="200"/>
              </a:spcBef>
              <a:defRPr sz="1000"/>
            </a:lvl6pPr>
            <a:lvl7pPr marL="756000" indent="-108000">
              <a:spcBef>
                <a:spcPts val="200"/>
              </a:spcBef>
              <a:defRPr sz="1000"/>
            </a:lvl7pPr>
            <a:lvl8pPr marL="864000" indent="-108000">
              <a:spcBef>
                <a:spcPts val="200"/>
              </a:spcBef>
              <a:defRPr sz="1000"/>
            </a:lvl8pPr>
            <a:lvl9pPr marL="972000" indent="-108000">
              <a:spcBef>
                <a:spcPts val="200"/>
              </a:spcBef>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guide id="5" orient="horz" pos="2523">
          <p15:clr>
            <a:srgbClr val="FBAE40"/>
          </p15:clr>
        </p15:guide>
        <p15:guide id="6" orient="horz" pos="28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2587752" cy="301752"/>
          </a:xfrm>
        </p:spPr>
        <p:txBody>
          <a:bodyPr/>
          <a:lstStyle>
            <a:lvl1pPr marL="0" indent="0">
              <a:spcBef>
                <a:spcPts val="0"/>
              </a:spcBef>
              <a:buFont typeface="Arial" panose="020B0604020202020204" pitchFamily="34" charset="0"/>
              <a:buChar char="​"/>
              <a:defRPr sz="1000" b="1">
                <a:solidFill>
                  <a:schemeClr val="tx1"/>
                </a:solidFill>
              </a:defRPr>
            </a:lvl1pPr>
            <a:lvl2pPr marL="0" indent="0">
              <a:spcBef>
                <a:spcPts val="0"/>
              </a:spcBef>
              <a:buFont typeface="Arial" panose="020B0604020202020204" pitchFamily="34" charset="0"/>
              <a:buChar char="​"/>
              <a:defRPr sz="1000">
                <a:solidFill>
                  <a:schemeClr val="tx1"/>
                </a:solidFill>
              </a:defRPr>
            </a:lvl2pPr>
            <a:lvl3pPr marL="0" indent="0">
              <a:spcBef>
                <a:spcPts val="0"/>
              </a:spcBef>
              <a:buFont typeface="Arial" panose="020B0604020202020204" pitchFamily="34" charset="0"/>
              <a:buChar char="​"/>
              <a:defRPr sz="1000">
                <a:solidFill>
                  <a:schemeClr val="tx1"/>
                </a:solidFill>
              </a:defRPr>
            </a:lvl3pPr>
            <a:lvl4pPr marL="0" indent="0">
              <a:spcBef>
                <a:spcPts val="0"/>
              </a:spcBef>
              <a:buFont typeface="Arial" panose="020B0604020202020204" pitchFamily="34" charset="0"/>
              <a:buChar char="​"/>
              <a:defRPr sz="1000">
                <a:solidFill>
                  <a:schemeClr val="tx1"/>
                </a:solidFill>
              </a:defRPr>
            </a:lvl4pPr>
            <a:lvl5pPr marL="0" indent="0">
              <a:spcBef>
                <a:spcPts val="0"/>
              </a:spcBef>
              <a:buFont typeface="Arial" panose="020B0604020202020204" pitchFamily="34" charset="0"/>
              <a:buChar char="​"/>
              <a:defRPr sz="1000">
                <a:solidFill>
                  <a:schemeClr val="tx1"/>
                </a:solidFill>
              </a:defRPr>
            </a:lvl5pPr>
            <a:lvl6pPr marL="0" indent="0">
              <a:spcBef>
                <a:spcPts val="0"/>
              </a:spcBef>
              <a:buFont typeface="Arial" panose="020B0604020202020204" pitchFamily="34" charset="0"/>
              <a:buChar char="​"/>
              <a:defRPr sz="1000">
                <a:solidFill>
                  <a:schemeClr val="tx1"/>
                </a:solidFill>
              </a:defRPr>
            </a:lvl6pPr>
            <a:lvl7pPr marL="0" indent="0">
              <a:spcBef>
                <a:spcPts val="0"/>
              </a:spcBef>
              <a:buFont typeface="Arial" panose="020B0604020202020204" pitchFamily="34" charset="0"/>
              <a:buChar char="​"/>
              <a:defRPr sz="1000">
                <a:solidFill>
                  <a:schemeClr val="tx1"/>
                </a:solidFill>
              </a:defRPr>
            </a:lvl7pPr>
            <a:lvl8pPr marL="0" indent="0">
              <a:spcBef>
                <a:spcPts val="0"/>
              </a:spcBef>
              <a:buFont typeface="Arial" panose="020B0604020202020204" pitchFamily="34" charset="0"/>
              <a:buChar char="​"/>
              <a:defRPr sz="1000">
                <a:solidFill>
                  <a:schemeClr val="tx1"/>
                </a:solidFill>
              </a:defRPr>
            </a:lvl8pPr>
            <a:lvl9pPr marL="0" indent="0">
              <a:spcBef>
                <a:spcPts val="0"/>
              </a:spcBef>
              <a:buFont typeface="Arial" panose="020B0604020202020204" pitchFamily="34" charset="0"/>
              <a:buChar char="​"/>
              <a:defRPr sz="1000">
                <a:solidFill>
                  <a:schemeClr val="tx1"/>
                </a:solidFill>
              </a:defRPr>
            </a:lvl9pPr>
          </a:lstStyle>
          <a:p>
            <a:pPr lvl="0"/>
            <a:r>
              <a:t>Heading 10 pt</a:t>
            </a:r>
          </a:p>
          <a:p>
            <a:pPr lvl="1"/>
            <a:r>
              <a:t>Subheading 10 pt</a:t>
            </a:r>
          </a:p>
        </p:txBody>
      </p:sp>
      <p:sp>
        <p:nvSpPr>
          <p:cNvPr id="4" name="Content Left Top"/>
          <p:cNvSpPr>
            <a:spLocks noGrp="1"/>
          </p:cNvSpPr>
          <p:nvPr>
            <p:ph sz="quarter" idx="11"/>
          </p:nvPr>
        </p:nvSpPr>
        <p:spPr>
          <a:xfrm>
            <a:off x="457200" y="1883664"/>
            <a:ext cx="2587752" cy="1911096"/>
          </a:xfrm>
        </p:spPr>
        <p:txBody>
          <a:bodyPr/>
          <a:lstStyle>
            <a:lvl1pPr marL="108000" indent="-108000">
              <a:spcBef>
                <a:spcPts val="500"/>
              </a:spcBef>
              <a:defRPr sz="1000"/>
            </a:lvl1pPr>
            <a:lvl2pPr marL="216000" indent="-108000">
              <a:spcBef>
                <a:spcPts val="200"/>
              </a:spcBef>
              <a:defRPr sz="1000"/>
            </a:lvl2pPr>
            <a:lvl3pPr marL="324000" indent="-108000">
              <a:spcBef>
                <a:spcPts val="200"/>
              </a:spcBef>
              <a:defRPr sz="1000"/>
            </a:lvl3pPr>
            <a:lvl4pPr marL="432000" indent="-108000">
              <a:spcBef>
                <a:spcPts val="200"/>
              </a:spcBef>
              <a:defRPr sz="1000"/>
            </a:lvl4pPr>
            <a:lvl5pPr marL="540000" indent="-108000">
              <a:spcBef>
                <a:spcPts val="200"/>
              </a:spcBef>
              <a:defRPr sz="1000"/>
            </a:lvl5pPr>
            <a:lvl6pPr marL="648000" indent="-108000">
              <a:spcBef>
                <a:spcPts val="200"/>
              </a:spcBef>
              <a:defRPr sz="1000"/>
            </a:lvl6pPr>
            <a:lvl7pPr marL="756000" indent="-108000">
              <a:spcBef>
                <a:spcPts val="200"/>
              </a:spcBef>
              <a:defRPr sz="1000"/>
            </a:lvl7pPr>
            <a:lvl8pPr marL="864000" indent="-108000">
              <a:spcBef>
                <a:spcPts val="200"/>
              </a:spcBef>
              <a:defRPr sz="1000"/>
            </a:lvl8pPr>
            <a:lvl9pPr marL="972000" indent="-108000">
              <a:spcBef>
                <a:spcPts val="200"/>
              </a:spcBef>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3506724" y="1399032"/>
            <a:ext cx="2587752" cy="301752"/>
          </a:xfrm>
        </p:spPr>
        <p:txBody>
          <a:bodyPr/>
          <a:lstStyle>
            <a:lvl1pPr marL="0" indent="0">
              <a:spcBef>
                <a:spcPts val="0"/>
              </a:spcBef>
              <a:buFont typeface="Arial" panose="020B0604020202020204" pitchFamily="34" charset="0"/>
              <a:buChar char="​"/>
              <a:defRPr sz="1000" b="1">
                <a:solidFill>
                  <a:schemeClr val="tx1"/>
                </a:solidFill>
              </a:defRPr>
            </a:lvl1pPr>
            <a:lvl2pPr marL="0" indent="0">
              <a:spcBef>
                <a:spcPts val="0"/>
              </a:spcBef>
              <a:buFont typeface="Arial" panose="020B0604020202020204" pitchFamily="34" charset="0"/>
              <a:buChar char="​"/>
              <a:defRPr sz="1000">
                <a:solidFill>
                  <a:schemeClr val="tx1"/>
                </a:solidFill>
              </a:defRPr>
            </a:lvl2pPr>
            <a:lvl3pPr marL="0" indent="0">
              <a:spcBef>
                <a:spcPts val="0"/>
              </a:spcBef>
              <a:buFont typeface="Arial" panose="020B0604020202020204" pitchFamily="34" charset="0"/>
              <a:buChar char="​"/>
              <a:defRPr sz="1000">
                <a:solidFill>
                  <a:schemeClr val="tx1"/>
                </a:solidFill>
              </a:defRPr>
            </a:lvl3pPr>
            <a:lvl4pPr marL="0" indent="0">
              <a:spcBef>
                <a:spcPts val="0"/>
              </a:spcBef>
              <a:buFont typeface="Arial" panose="020B0604020202020204" pitchFamily="34" charset="0"/>
              <a:buChar char="​"/>
              <a:defRPr sz="1000">
                <a:solidFill>
                  <a:schemeClr val="tx1"/>
                </a:solidFill>
              </a:defRPr>
            </a:lvl4pPr>
            <a:lvl5pPr marL="0" indent="0">
              <a:spcBef>
                <a:spcPts val="0"/>
              </a:spcBef>
              <a:buFont typeface="Arial" panose="020B0604020202020204" pitchFamily="34" charset="0"/>
              <a:buChar char="​"/>
              <a:defRPr sz="1000">
                <a:solidFill>
                  <a:schemeClr val="tx1"/>
                </a:solidFill>
              </a:defRPr>
            </a:lvl5pPr>
            <a:lvl6pPr marL="0" indent="0">
              <a:spcBef>
                <a:spcPts val="0"/>
              </a:spcBef>
              <a:buFont typeface="Arial" panose="020B0604020202020204" pitchFamily="34" charset="0"/>
              <a:buChar char="​"/>
              <a:defRPr sz="1000">
                <a:solidFill>
                  <a:schemeClr val="tx1"/>
                </a:solidFill>
              </a:defRPr>
            </a:lvl6pPr>
            <a:lvl7pPr marL="0" indent="0">
              <a:spcBef>
                <a:spcPts val="0"/>
              </a:spcBef>
              <a:buFont typeface="Arial" panose="020B0604020202020204" pitchFamily="34" charset="0"/>
              <a:buChar char="​"/>
              <a:defRPr sz="1000">
                <a:solidFill>
                  <a:schemeClr val="tx1"/>
                </a:solidFill>
              </a:defRPr>
            </a:lvl7pPr>
            <a:lvl8pPr marL="0" indent="0">
              <a:spcBef>
                <a:spcPts val="0"/>
              </a:spcBef>
              <a:buFont typeface="Arial" panose="020B0604020202020204" pitchFamily="34" charset="0"/>
              <a:buChar char="​"/>
              <a:defRPr sz="1000">
                <a:solidFill>
                  <a:schemeClr val="tx1"/>
                </a:solidFill>
              </a:defRPr>
            </a:lvl8pPr>
            <a:lvl9pPr marL="0" indent="0">
              <a:spcBef>
                <a:spcPts val="0"/>
              </a:spcBef>
              <a:buFont typeface="Arial" panose="020B0604020202020204" pitchFamily="34" charset="0"/>
              <a:buChar char="​"/>
              <a:defRPr sz="1000">
                <a:solidFill>
                  <a:schemeClr val="tx1"/>
                </a:solidFill>
              </a:defRPr>
            </a:lvl9pPr>
          </a:lstStyle>
          <a:p>
            <a:pPr lvl="0"/>
            <a:r>
              <a:t>Heading 10 pt</a:t>
            </a:r>
          </a:p>
          <a:p>
            <a:pPr lvl="1"/>
            <a:r>
              <a:t>Subheading 10 pt</a:t>
            </a:r>
          </a:p>
        </p:txBody>
      </p:sp>
      <p:sp>
        <p:nvSpPr>
          <p:cNvPr id="6" name="Content Middle Top"/>
          <p:cNvSpPr>
            <a:spLocks noGrp="1"/>
          </p:cNvSpPr>
          <p:nvPr>
            <p:ph sz="quarter" idx="12"/>
          </p:nvPr>
        </p:nvSpPr>
        <p:spPr>
          <a:xfrm>
            <a:off x="3506724" y="1883664"/>
            <a:ext cx="2587752" cy="1911096"/>
          </a:xfrm>
        </p:spPr>
        <p:txBody>
          <a:bodyPr/>
          <a:lstStyle>
            <a:lvl1pPr marL="108000" indent="-108000">
              <a:spcBef>
                <a:spcPts val="500"/>
              </a:spcBef>
              <a:defRPr sz="1000"/>
            </a:lvl1pPr>
            <a:lvl2pPr marL="216000" indent="-108000">
              <a:spcBef>
                <a:spcPts val="200"/>
              </a:spcBef>
              <a:defRPr sz="1000"/>
            </a:lvl2pPr>
            <a:lvl3pPr marL="324000" indent="-108000">
              <a:spcBef>
                <a:spcPts val="200"/>
              </a:spcBef>
              <a:defRPr sz="1000"/>
            </a:lvl3pPr>
            <a:lvl4pPr marL="432000" indent="-108000">
              <a:spcBef>
                <a:spcPts val="200"/>
              </a:spcBef>
              <a:defRPr sz="1000"/>
            </a:lvl4pPr>
            <a:lvl5pPr marL="540000" indent="-108000">
              <a:spcBef>
                <a:spcPts val="200"/>
              </a:spcBef>
              <a:defRPr sz="1000"/>
            </a:lvl5pPr>
            <a:lvl6pPr marL="648000" indent="-108000">
              <a:spcBef>
                <a:spcPts val="200"/>
              </a:spcBef>
              <a:defRPr sz="1000"/>
            </a:lvl6pPr>
            <a:lvl7pPr marL="756000" indent="-108000">
              <a:spcBef>
                <a:spcPts val="200"/>
              </a:spcBef>
              <a:defRPr sz="1000"/>
            </a:lvl7pPr>
            <a:lvl8pPr marL="864000" indent="-108000">
              <a:spcBef>
                <a:spcPts val="200"/>
              </a:spcBef>
              <a:defRPr sz="1000"/>
            </a:lvl8pPr>
            <a:lvl9pPr marL="972000" indent="-108000">
              <a:spcBef>
                <a:spcPts val="200"/>
              </a:spcBef>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6556248" y="1399032"/>
            <a:ext cx="2587752" cy="301752"/>
          </a:xfrm>
        </p:spPr>
        <p:txBody>
          <a:bodyPr/>
          <a:lstStyle>
            <a:lvl1pPr marL="0" indent="0">
              <a:spcBef>
                <a:spcPts val="0"/>
              </a:spcBef>
              <a:buFont typeface="Arial" panose="020B0604020202020204" pitchFamily="34" charset="0"/>
              <a:buChar char="​"/>
              <a:defRPr sz="1000" b="1">
                <a:solidFill>
                  <a:schemeClr val="tx1"/>
                </a:solidFill>
              </a:defRPr>
            </a:lvl1pPr>
            <a:lvl2pPr marL="0" indent="0">
              <a:spcBef>
                <a:spcPts val="0"/>
              </a:spcBef>
              <a:buFont typeface="Arial" panose="020B0604020202020204" pitchFamily="34" charset="0"/>
              <a:buChar char="​"/>
              <a:defRPr sz="1000">
                <a:solidFill>
                  <a:schemeClr val="tx1"/>
                </a:solidFill>
              </a:defRPr>
            </a:lvl2pPr>
            <a:lvl3pPr marL="0" indent="0">
              <a:spcBef>
                <a:spcPts val="0"/>
              </a:spcBef>
              <a:buFont typeface="Arial" panose="020B0604020202020204" pitchFamily="34" charset="0"/>
              <a:buChar char="​"/>
              <a:defRPr sz="1000">
                <a:solidFill>
                  <a:schemeClr val="tx1"/>
                </a:solidFill>
              </a:defRPr>
            </a:lvl3pPr>
            <a:lvl4pPr marL="0" indent="0">
              <a:spcBef>
                <a:spcPts val="0"/>
              </a:spcBef>
              <a:buFont typeface="Arial" panose="020B0604020202020204" pitchFamily="34" charset="0"/>
              <a:buChar char="​"/>
              <a:defRPr sz="1000">
                <a:solidFill>
                  <a:schemeClr val="tx1"/>
                </a:solidFill>
              </a:defRPr>
            </a:lvl4pPr>
            <a:lvl5pPr marL="0" indent="0">
              <a:spcBef>
                <a:spcPts val="0"/>
              </a:spcBef>
              <a:buFont typeface="Arial" panose="020B0604020202020204" pitchFamily="34" charset="0"/>
              <a:buChar char="​"/>
              <a:defRPr sz="1000">
                <a:solidFill>
                  <a:schemeClr val="tx1"/>
                </a:solidFill>
              </a:defRPr>
            </a:lvl5pPr>
            <a:lvl6pPr marL="0" indent="0">
              <a:spcBef>
                <a:spcPts val="0"/>
              </a:spcBef>
              <a:buFont typeface="Arial" panose="020B0604020202020204" pitchFamily="34" charset="0"/>
              <a:buChar char="​"/>
              <a:defRPr sz="1000">
                <a:solidFill>
                  <a:schemeClr val="tx1"/>
                </a:solidFill>
              </a:defRPr>
            </a:lvl6pPr>
            <a:lvl7pPr marL="0" indent="0">
              <a:spcBef>
                <a:spcPts val="0"/>
              </a:spcBef>
              <a:buFont typeface="Arial" panose="020B0604020202020204" pitchFamily="34" charset="0"/>
              <a:buChar char="​"/>
              <a:defRPr sz="1000">
                <a:solidFill>
                  <a:schemeClr val="tx1"/>
                </a:solidFill>
              </a:defRPr>
            </a:lvl7pPr>
            <a:lvl8pPr marL="0" indent="0">
              <a:spcBef>
                <a:spcPts val="0"/>
              </a:spcBef>
              <a:buFont typeface="Arial" panose="020B0604020202020204" pitchFamily="34" charset="0"/>
              <a:buChar char="​"/>
              <a:defRPr sz="1000">
                <a:solidFill>
                  <a:schemeClr val="tx1"/>
                </a:solidFill>
              </a:defRPr>
            </a:lvl8pPr>
            <a:lvl9pPr marL="0" indent="0">
              <a:spcBef>
                <a:spcPts val="0"/>
              </a:spcBef>
              <a:buFont typeface="Arial" panose="020B0604020202020204" pitchFamily="34" charset="0"/>
              <a:buChar char="​"/>
              <a:defRPr sz="1000">
                <a:solidFill>
                  <a:schemeClr val="tx1"/>
                </a:solidFill>
              </a:defRPr>
            </a:lvl9pPr>
          </a:lstStyle>
          <a:p>
            <a:pPr lvl="0"/>
            <a:r>
              <a:t>Heading 10 pt</a:t>
            </a:r>
          </a:p>
          <a:p>
            <a:pPr lvl="1"/>
            <a:r>
              <a:t>Subheading 10 pt</a:t>
            </a:r>
          </a:p>
        </p:txBody>
      </p:sp>
      <p:sp>
        <p:nvSpPr>
          <p:cNvPr id="8" name="Content Right Top"/>
          <p:cNvSpPr>
            <a:spLocks noGrp="1"/>
          </p:cNvSpPr>
          <p:nvPr>
            <p:ph sz="quarter" idx="14"/>
          </p:nvPr>
        </p:nvSpPr>
        <p:spPr>
          <a:xfrm>
            <a:off x="6556248" y="1883664"/>
            <a:ext cx="2587752" cy="1911096"/>
          </a:xfrm>
        </p:spPr>
        <p:txBody>
          <a:bodyPr/>
          <a:lstStyle>
            <a:lvl1pPr marL="108000" indent="-108000">
              <a:spcBef>
                <a:spcPts val="500"/>
              </a:spcBef>
              <a:defRPr sz="1000"/>
            </a:lvl1pPr>
            <a:lvl2pPr marL="216000" indent="-108000">
              <a:spcBef>
                <a:spcPts val="200"/>
              </a:spcBef>
              <a:defRPr sz="1000"/>
            </a:lvl2pPr>
            <a:lvl3pPr marL="324000" indent="-108000">
              <a:spcBef>
                <a:spcPts val="200"/>
              </a:spcBef>
              <a:defRPr sz="1000"/>
            </a:lvl3pPr>
            <a:lvl4pPr marL="432000" indent="-108000">
              <a:spcBef>
                <a:spcPts val="200"/>
              </a:spcBef>
              <a:defRPr sz="1000"/>
            </a:lvl4pPr>
            <a:lvl5pPr marL="540000" indent="-108000">
              <a:spcBef>
                <a:spcPts val="200"/>
              </a:spcBef>
              <a:defRPr sz="1000"/>
            </a:lvl5pPr>
            <a:lvl6pPr marL="648000" indent="-108000">
              <a:spcBef>
                <a:spcPts val="200"/>
              </a:spcBef>
              <a:defRPr sz="1000"/>
            </a:lvl6pPr>
            <a:lvl7pPr marL="756000" indent="-108000">
              <a:spcBef>
                <a:spcPts val="200"/>
              </a:spcBef>
              <a:defRPr sz="1000"/>
            </a:lvl7pPr>
            <a:lvl8pPr marL="864000" indent="-108000">
              <a:spcBef>
                <a:spcPts val="200"/>
              </a:spcBef>
              <a:defRPr sz="1000"/>
            </a:lvl8pPr>
            <a:lvl9pPr marL="972000" indent="-108000">
              <a:spcBef>
                <a:spcPts val="200"/>
              </a:spcBef>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2587752" cy="301752"/>
          </a:xfrm>
        </p:spPr>
        <p:txBody>
          <a:bodyPr/>
          <a:lstStyle>
            <a:lvl1pPr marL="0" indent="0">
              <a:spcBef>
                <a:spcPts val="0"/>
              </a:spcBef>
              <a:buFont typeface="Arial" panose="020B0604020202020204" pitchFamily="34" charset="0"/>
              <a:buChar char="​"/>
              <a:defRPr sz="1000" b="1">
                <a:solidFill>
                  <a:schemeClr val="tx1"/>
                </a:solidFill>
              </a:defRPr>
            </a:lvl1pPr>
            <a:lvl2pPr marL="0" indent="0">
              <a:spcBef>
                <a:spcPts val="0"/>
              </a:spcBef>
              <a:buFont typeface="Arial" panose="020B0604020202020204" pitchFamily="34" charset="0"/>
              <a:buChar char="​"/>
              <a:defRPr sz="1000">
                <a:solidFill>
                  <a:schemeClr val="tx1"/>
                </a:solidFill>
              </a:defRPr>
            </a:lvl2pPr>
            <a:lvl3pPr marL="0" indent="0">
              <a:spcBef>
                <a:spcPts val="0"/>
              </a:spcBef>
              <a:buFont typeface="Arial" panose="020B0604020202020204" pitchFamily="34" charset="0"/>
              <a:buChar char="​"/>
              <a:defRPr sz="1000">
                <a:solidFill>
                  <a:schemeClr val="tx1"/>
                </a:solidFill>
              </a:defRPr>
            </a:lvl3pPr>
            <a:lvl4pPr marL="0" indent="0">
              <a:spcBef>
                <a:spcPts val="0"/>
              </a:spcBef>
              <a:buFont typeface="Arial" panose="020B0604020202020204" pitchFamily="34" charset="0"/>
              <a:buChar char="​"/>
              <a:defRPr sz="1000">
                <a:solidFill>
                  <a:schemeClr val="tx1"/>
                </a:solidFill>
              </a:defRPr>
            </a:lvl4pPr>
            <a:lvl5pPr marL="0" indent="0">
              <a:spcBef>
                <a:spcPts val="0"/>
              </a:spcBef>
              <a:buFont typeface="Arial" panose="020B0604020202020204" pitchFamily="34" charset="0"/>
              <a:buChar char="​"/>
              <a:defRPr sz="1000">
                <a:solidFill>
                  <a:schemeClr val="tx1"/>
                </a:solidFill>
              </a:defRPr>
            </a:lvl5pPr>
            <a:lvl6pPr marL="0" indent="0">
              <a:spcBef>
                <a:spcPts val="0"/>
              </a:spcBef>
              <a:buFont typeface="Arial" panose="020B0604020202020204" pitchFamily="34" charset="0"/>
              <a:buChar char="​"/>
              <a:defRPr sz="1000">
                <a:solidFill>
                  <a:schemeClr val="tx1"/>
                </a:solidFill>
              </a:defRPr>
            </a:lvl6pPr>
            <a:lvl7pPr marL="0" indent="0">
              <a:spcBef>
                <a:spcPts val="0"/>
              </a:spcBef>
              <a:buFont typeface="Arial" panose="020B0604020202020204" pitchFamily="34" charset="0"/>
              <a:buChar char="​"/>
              <a:defRPr sz="1000">
                <a:solidFill>
                  <a:schemeClr val="tx1"/>
                </a:solidFill>
              </a:defRPr>
            </a:lvl7pPr>
            <a:lvl8pPr marL="0" indent="0">
              <a:spcBef>
                <a:spcPts val="0"/>
              </a:spcBef>
              <a:buFont typeface="Arial" panose="020B0604020202020204" pitchFamily="34" charset="0"/>
              <a:buChar char="​"/>
              <a:defRPr sz="1000">
                <a:solidFill>
                  <a:schemeClr val="tx1"/>
                </a:solidFill>
              </a:defRPr>
            </a:lvl8pPr>
            <a:lvl9pPr marL="0" indent="0">
              <a:spcBef>
                <a:spcPts val="0"/>
              </a:spcBef>
              <a:buFont typeface="Arial" panose="020B0604020202020204" pitchFamily="34" charset="0"/>
              <a:buChar char="​"/>
              <a:defRPr sz="1000">
                <a:solidFill>
                  <a:schemeClr val="tx1"/>
                </a:solidFill>
              </a:defRPr>
            </a:lvl9pPr>
          </a:lstStyle>
          <a:p>
            <a:pPr lvl="0"/>
            <a:r>
              <a:t>Heading 10 pt</a:t>
            </a:r>
          </a:p>
          <a:p>
            <a:pPr lvl="1"/>
            <a:r>
              <a:t>Subheading 10 pt</a:t>
            </a:r>
          </a:p>
        </p:txBody>
      </p:sp>
      <p:sp>
        <p:nvSpPr>
          <p:cNvPr id="10" name="Content Left Bottom"/>
          <p:cNvSpPr>
            <a:spLocks noGrp="1"/>
          </p:cNvSpPr>
          <p:nvPr>
            <p:ph sz="quarter" idx="16"/>
          </p:nvPr>
        </p:nvSpPr>
        <p:spPr>
          <a:xfrm>
            <a:off x="457200" y="4489704"/>
            <a:ext cx="2587752" cy="1911096"/>
          </a:xfrm>
        </p:spPr>
        <p:txBody>
          <a:bodyPr/>
          <a:lstStyle>
            <a:lvl1pPr marL="108000" indent="-108000">
              <a:spcBef>
                <a:spcPts val="500"/>
              </a:spcBef>
              <a:defRPr sz="1000"/>
            </a:lvl1pPr>
            <a:lvl2pPr marL="216000" indent="-108000">
              <a:spcBef>
                <a:spcPts val="200"/>
              </a:spcBef>
              <a:defRPr sz="1000"/>
            </a:lvl2pPr>
            <a:lvl3pPr marL="324000" indent="-108000">
              <a:spcBef>
                <a:spcPts val="200"/>
              </a:spcBef>
              <a:defRPr sz="1000"/>
            </a:lvl3pPr>
            <a:lvl4pPr marL="432000" indent="-108000">
              <a:spcBef>
                <a:spcPts val="200"/>
              </a:spcBef>
              <a:defRPr sz="1000"/>
            </a:lvl4pPr>
            <a:lvl5pPr marL="540000" indent="-108000">
              <a:spcBef>
                <a:spcPts val="200"/>
              </a:spcBef>
              <a:defRPr sz="1000"/>
            </a:lvl5pPr>
            <a:lvl6pPr marL="648000" indent="-108000">
              <a:spcBef>
                <a:spcPts val="200"/>
              </a:spcBef>
              <a:defRPr sz="1000"/>
            </a:lvl6pPr>
            <a:lvl7pPr marL="756000" indent="-108000">
              <a:spcBef>
                <a:spcPts val="200"/>
              </a:spcBef>
              <a:defRPr sz="1000"/>
            </a:lvl7pPr>
            <a:lvl8pPr marL="864000" indent="-108000">
              <a:spcBef>
                <a:spcPts val="200"/>
              </a:spcBef>
              <a:defRPr sz="1000"/>
            </a:lvl8pPr>
            <a:lvl9pPr marL="972000" indent="-108000">
              <a:spcBef>
                <a:spcPts val="200"/>
              </a:spcBef>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3506724" y="4005072"/>
            <a:ext cx="2587752" cy="301752"/>
          </a:xfrm>
        </p:spPr>
        <p:txBody>
          <a:bodyPr/>
          <a:lstStyle>
            <a:lvl1pPr marL="0" indent="0">
              <a:spcBef>
                <a:spcPts val="0"/>
              </a:spcBef>
              <a:buFont typeface="Arial" panose="020B0604020202020204" pitchFamily="34" charset="0"/>
              <a:buChar char="​"/>
              <a:defRPr sz="1000" b="1">
                <a:solidFill>
                  <a:schemeClr val="tx1"/>
                </a:solidFill>
              </a:defRPr>
            </a:lvl1pPr>
            <a:lvl2pPr marL="0" indent="0">
              <a:spcBef>
                <a:spcPts val="0"/>
              </a:spcBef>
              <a:buFont typeface="Arial" panose="020B0604020202020204" pitchFamily="34" charset="0"/>
              <a:buChar char="​"/>
              <a:defRPr sz="1000">
                <a:solidFill>
                  <a:schemeClr val="tx1"/>
                </a:solidFill>
              </a:defRPr>
            </a:lvl2pPr>
            <a:lvl3pPr marL="0" indent="0">
              <a:spcBef>
                <a:spcPts val="0"/>
              </a:spcBef>
              <a:buFont typeface="Arial" panose="020B0604020202020204" pitchFamily="34" charset="0"/>
              <a:buChar char="​"/>
              <a:defRPr sz="1000">
                <a:solidFill>
                  <a:schemeClr val="tx1"/>
                </a:solidFill>
              </a:defRPr>
            </a:lvl3pPr>
            <a:lvl4pPr marL="0" indent="0">
              <a:spcBef>
                <a:spcPts val="0"/>
              </a:spcBef>
              <a:buFont typeface="Arial" panose="020B0604020202020204" pitchFamily="34" charset="0"/>
              <a:buChar char="​"/>
              <a:defRPr sz="1000">
                <a:solidFill>
                  <a:schemeClr val="tx1"/>
                </a:solidFill>
              </a:defRPr>
            </a:lvl4pPr>
            <a:lvl5pPr marL="0" indent="0">
              <a:spcBef>
                <a:spcPts val="0"/>
              </a:spcBef>
              <a:buFont typeface="Arial" panose="020B0604020202020204" pitchFamily="34" charset="0"/>
              <a:buChar char="​"/>
              <a:defRPr sz="1000">
                <a:solidFill>
                  <a:schemeClr val="tx1"/>
                </a:solidFill>
              </a:defRPr>
            </a:lvl5pPr>
            <a:lvl6pPr marL="0" indent="0">
              <a:spcBef>
                <a:spcPts val="0"/>
              </a:spcBef>
              <a:buFont typeface="Arial" panose="020B0604020202020204" pitchFamily="34" charset="0"/>
              <a:buChar char="​"/>
              <a:defRPr sz="1000">
                <a:solidFill>
                  <a:schemeClr val="tx1"/>
                </a:solidFill>
              </a:defRPr>
            </a:lvl6pPr>
            <a:lvl7pPr marL="0" indent="0">
              <a:spcBef>
                <a:spcPts val="0"/>
              </a:spcBef>
              <a:buFont typeface="Arial" panose="020B0604020202020204" pitchFamily="34" charset="0"/>
              <a:buChar char="​"/>
              <a:defRPr sz="1000">
                <a:solidFill>
                  <a:schemeClr val="tx1"/>
                </a:solidFill>
              </a:defRPr>
            </a:lvl7pPr>
            <a:lvl8pPr marL="0" indent="0">
              <a:spcBef>
                <a:spcPts val="0"/>
              </a:spcBef>
              <a:buFont typeface="Arial" panose="020B0604020202020204" pitchFamily="34" charset="0"/>
              <a:buChar char="​"/>
              <a:defRPr sz="1000">
                <a:solidFill>
                  <a:schemeClr val="tx1"/>
                </a:solidFill>
              </a:defRPr>
            </a:lvl8pPr>
            <a:lvl9pPr marL="0" indent="0">
              <a:spcBef>
                <a:spcPts val="0"/>
              </a:spcBef>
              <a:buFont typeface="Arial" panose="020B0604020202020204" pitchFamily="34" charset="0"/>
              <a:buChar char="​"/>
              <a:defRPr sz="1000">
                <a:solidFill>
                  <a:schemeClr val="tx1"/>
                </a:solidFill>
              </a:defRPr>
            </a:lvl9pPr>
          </a:lstStyle>
          <a:p>
            <a:pPr lvl="0"/>
            <a:r>
              <a:t>Heading 10 pt</a:t>
            </a:r>
          </a:p>
          <a:p>
            <a:pPr lvl="1"/>
            <a:r>
              <a:t>Subheading 10 pt</a:t>
            </a:r>
          </a:p>
        </p:txBody>
      </p:sp>
      <p:sp>
        <p:nvSpPr>
          <p:cNvPr id="12" name="Content Middle Bottom"/>
          <p:cNvSpPr>
            <a:spLocks noGrp="1"/>
          </p:cNvSpPr>
          <p:nvPr>
            <p:ph sz="quarter" idx="18"/>
          </p:nvPr>
        </p:nvSpPr>
        <p:spPr>
          <a:xfrm>
            <a:off x="3506724" y="4489704"/>
            <a:ext cx="2587752" cy="1911096"/>
          </a:xfrm>
        </p:spPr>
        <p:txBody>
          <a:bodyPr/>
          <a:lstStyle>
            <a:lvl1pPr marL="108000" indent="-108000">
              <a:spcBef>
                <a:spcPts val="500"/>
              </a:spcBef>
              <a:defRPr sz="1000"/>
            </a:lvl1pPr>
            <a:lvl2pPr marL="216000" indent="-108000">
              <a:spcBef>
                <a:spcPts val="200"/>
              </a:spcBef>
              <a:defRPr sz="1000"/>
            </a:lvl2pPr>
            <a:lvl3pPr marL="324000" indent="-108000">
              <a:spcBef>
                <a:spcPts val="200"/>
              </a:spcBef>
              <a:defRPr sz="1000"/>
            </a:lvl3pPr>
            <a:lvl4pPr marL="432000" indent="-108000">
              <a:spcBef>
                <a:spcPts val="200"/>
              </a:spcBef>
              <a:defRPr sz="1000"/>
            </a:lvl4pPr>
            <a:lvl5pPr marL="540000" indent="-108000">
              <a:spcBef>
                <a:spcPts val="200"/>
              </a:spcBef>
              <a:defRPr sz="1000"/>
            </a:lvl5pPr>
            <a:lvl6pPr marL="648000" indent="-108000">
              <a:spcBef>
                <a:spcPts val="200"/>
              </a:spcBef>
              <a:defRPr sz="1000"/>
            </a:lvl6pPr>
            <a:lvl7pPr marL="756000" indent="-108000">
              <a:spcBef>
                <a:spcPts val="200"/>
              </a:spcBef>
              <a:defRPr sz="1000"/>
            </a:lvl7pPr>
            <a:lvl8pPr marL="864000" indent="-108000">
              <a:spcBef>
                <a:spcPts val="200"/>
              </a:spcBef>
              <a:defRPr sz="1000"/>
            </a:lvl8pPr>
            <a:lvl9pPr marL="972000" indent="-108000">
              <a:spcBef>
                <a:spcPts val="200"/>
              </a:spcBef>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6556248" y="4005072"/>
            <a:ext cx="2587752" cy="301752"/>
          </a:xfrm>
        </p:spPr>
        <p:txBody>
          <a:bodyPr/>
          <a:lstStyle>
            <a:lvl1pPr marL="0" indent="0">
              <a:spcBef>
                <a:spcPts val="0"/>
              </a:spcBef>
              <a:buFont typeface="Arial" panose="020B0604020202020204" pitchFamily="34" charset="0"/>
              <a:buChar char="​"/>
              <a:defRPr sz="1000" b="1">
                <a:solidFill>
                  <a:schemeClr val="tx1"/>
                </a:solidFill>
              </a:defRPr>
            </a:lvl1pPr>
            <a:lvl2pPr marL="0" indent="0">
              <a:spcBef>
                <a:spcPts val="0"/>
              </a:spcBef>
              <a:buFont typeface="Arial" panose="020B0604020202020204" pitchFamily="34" charset="0"/>
              <a:buChar char="​"/>
              <a:defRPr sz="1000">
                <a:solidFill>
                  <a:schemeClr val="tx1"/>
                </a:solidFill>
              </a:defRPr>
            </a:lvl2pPr>
            <a:lvl3pPr marL="0" indent="0">
              <a:spcBef>
                <a:spcPts val="0"/>
              </a:spcBef>
              <a:buFont typeface="Arial" panose="020B0604020202020204" pitchFamily="34" charset="0"/>
              <a:buChar char="​"/>
              <a:defRPr sz="1000">
                <a:solidFill>
                  <a:schemeClr val="tx1"/>
                </a:solidFill>
              </a:defRPr>
            </a:lvl3pPr>
            <a:lvl4pPr marL="0" indent="0">
              <a:spcBef>
                <a:spcPts val="0"/>
              </a:spcBef>
              <a:buFont typeface="Arial" panose="020B0604020202020204" pitchFamily="34" charset="0"/>
              <a:buChar char="​"/>
              <a:defRPr sz="1000">
                <a:solidFill>
                  <a:schemeClr val="tx1"/>
                </a:solidFill>
              </a:defRPr>
            </a:lvl4pPr>
            <a:lvl5pPr marL="0" indent="0">
              <a:spcBef>
                <a:spcPts val="0"/>
              </a:spcBef>
              <a:buFont typeface="Arial" panose="020B0604020202020204" pitchFamily="34" charset="0"/>
              <a:buChar char="​"/>
              <a:defRPr sz="1000">
                <a:solidFill>
                  <a:schemeClr val="tx1"/>
                </a:solidFill>
              </a:defRPr>
            </a:lvl5pPr>
            <a:lvl6pPr marL="0" indent="0">
              <a:spcBef>
                <a:spcPts val="0"/>
              </a:spcBef>
              <a:buFont typeface="Arial" panose="020B0604020202020204" pitchFamily="34" charset="0"/>
              <a:buChar char="​"/>
              <a:defRPr sz="1000">
                <a:solidFill>
                  <a:schemeClr val="tx1"/>
                </a:solidFill>
              </a:defRPr>
            </a:lvl6pPr>
            <a:lvl7pPr marL="0" indent="0">
              <a:spcBef>
                <a:spcPts val="0"/>
              </a:spcBef>
              <a:buFont typeface="Arial" panose="020B0604020202020204" pitchFamily="34" charset="0"/>
              <a:buChar char="​"/>
              <a:defRPr sz="1000">
                <a:solidFill>
                  <a:schemeClr val="tx1"/>
                </a:solidFill>
              </a:defRPr>
            </a:lvl7pPr>
            <a:lvl8pPr marL="0" indent="0">
              <a:spcBef>
                <a:spcPts val="0"/>
              </a:spcBef>
              <a:buFont typeface="Arial" panose="020B0604020202020204" pitchFamily="34" charset="0"/>
              <a:buChar char="​"/>
              <a:defRPr sz="1000">
                <a:solidFill>
                  <a:schemeClr val="tx1"/>
                </a:solidFill>
              </a:defRPr>
            </a:lvl8pPr>
            <a:lvl9pPr marL="0" indent="0">
              <a:spcBef>
                <a:spcPts val="0"/>
              </a:spcBef>
              <a:buFont typeface="Arial" panose="020B0604020202020204" pitchFamily="34" charset="0"/>
              <a:buChar char="​"/>
              <a:defRPr sz="1000">
                <a:solidFill>
                  <a:schemeClr val="tx1"/>
                </a:solidFill>
              </a:defRPr>
            </a:lvl9pPr>
          </a:lstStyle>
          <a:p>
            <a:pPr lvl="0"/>
            <a:r>
              <a:t>Heading 10 pt</a:t>
            </a:r>
          </a:p>
          <a:p>
            <a:pPr lvl="1"/>
            <a:r>
              <a:t>Subheading 10 pt</a:t>
            </a:r>
          </a:p>
        </p:txBody>
      </p:sp>
      <p:sp>
        <p:nvSpPr>
          <p:cNvPr id="14" name="Content Right Bottom"/>
          <p:cNvSpPr>
            <a:spLocks noGrp="1"/>
          </p:cNvSpPr>
          <p:nvPr>
            <p:ph sz="quarter" idx="20"/>
          </p:nvPr>
        </p:nvSpPr>
        <p:spPr>
          <a:xfrm>
            <a:off x="6556248" y="4489704"/>
            <a:ext cx="2587752" cy="1911096"/>
          </a:xfrm>
        </p:spPr>
        <p:txBody>
          <a:bodyPr/>
          <a:lstStyle>
            <a:lvl1pPr marL="108000" indent="-108000">
              <a:spcBef>
                <a:spcPts val="500"/>
              </a:spcBef>
              <a:defRPr sz="1000"/>
            </a:lvl1pPr>
            <a:lvl2pPr marL="216000" indent="-108000">
              <a:spcBef>
                <a:spcPts val="200"/>
              </a:spcBef>
              <a:defRPr sz="1000"/>
            </a:lvl2pPr>
            <a:lvl3pPr marL="324000" indent="-108000">
              <a:spcBef>
                <a:spcPts val="200"/>
              </a:spcBef>
              <a:defRPr sz="1000"/>
            </a:lvl3pPr>
            <a:lvl4pPr marL="432000" indent="-108000">
              <a:spcBef>
                <a:spcPts val="200"/>
              </a:spcBef>
              <a:defRPr sz="1000"/>
            </a:lvl4pPr>
            <a:lvl5pPr marL="540000" indent="-108000">
              <a:spcBef>
                <a:spcPts val="200"/>
              </a:spcBef>
              <a:defRPr sz="1000"/>
            </a:lvl5pPr>
            <a:lvl6pPr marL="648000" indent="-108000">
              <a:spcBef>
                <a:spcPts val="200"/>
              </a:spcBef>
              <a:defRPr sz="1000"/>
            </a:lvl6pPr>
            <a:lvl7pPr marL="756000" indent="-108000">
              <a:spcBef>
                <a:spcPts val="200"/>
              </a:spcBef>
              <a:defRPr sz="1000"/>
            </a:lvl7pPr>
            <a:lvl8pPr marL="864000" indent="-108000">
              <a:spcBef>
                <a:spcPts val="200"/>
              </a:spcBef>
              <a:defRPr sz="1000"/>
            </a:lvl8pPr>
            <a:lvl9pPr marL="972000" indent="-108000">
              <a:spcBef>
                <a:spcPts val="200"/>
              </a:spcBef>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guide id="7" orient="horz" pos="2523">
          <p15:clr>
            <a:srgbClr val="FBAE40"/>
          </p15:clr>
        </p15:guide>
        <p15:guide id="8" orient="horz" pos="282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Imag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4E14CDF-C98D-4B8C-B6AC-51EDDABB9FDB}"/>
              </a:ext>
            </a:extLst>
          </p:cNvPr>
          <p:cNvGraphicFramePr>
            <a:graphicFrameLocks noChangeAspect="1"/>
          </p:cNvGraphicFramePr>
          <p:nvPr userDrawn="1">
            <p:custDataLst>
              <p:tags r:id="rId2"/>
            </p:custDataLst>
            <p:extLst>
              <p:ext uri="{D42A27DB-BD31-4B8C-83A1-F6EECF244321}">
                <p14:modId xmlns:p14="http://schemas.microsoft.com/office/powerpoint/2010/main" val="367097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2" name="think-cell Slide" r:id="rId4" imgW="789" imgH="788" progId="TCLayout.ActiveDocument.1">
                  <p:embed/>
                </p:oleObj>
              </mc:Choice>
              <mc:Fallback>
                <p:oleObj name="think-cell Slide" r:id="rId4" imgW="789" imgH="78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body" sz="quarter" idx="10" hasCustomPrompt="1"/>
          </p:nvPr>
        </p:nvSpPr>
        <p:spPr>
          <a:xfrm>
            <a:off x="457200" y="2057400"/>
            <a:ext cx="8686800" cy="2772682"/>
          </a:xfrm>
        </p:spPr>
        <p:txBody>
          <a:bodyPr lIns="0" tIns="0" rIns="0" bIns="0" anchor="b">
            <a:spAutoFit/>
          </a:bodyPr>
          <a:lstStyle>
            <a:lvl1pPr marL="0" indent="0" fontAlgn="base">
              <a:lnSpc>
                <a:spcPct val="91000"/>
              </a:lnSpc>
              <a:spcBef>
                <a:spcPts val="0"/>
              </a:spcBef>
              <a:spcAft>
                <a:spcPts val="0"/>
              </a:spcAft>
              <a:buFont typeface="Arial" panose="020B0604020202020204" pitchFamily="34" charset="0"/>
              <a:buChar char="​"/>
              <a:defRPr sz="6600" cap="all">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lang="en-GB" dirty="0"/>
              <a:t>Type your Title in no more than three lines</a:t>
            </a:r>
          </a:p>
        </p:txBody>
      </p:sp>
      <p:sp>
        <p:nvSpPr>
          <p:cNvPr id="3" name="Subtitle"/>
          <p:cNvSpPr>
            <a:spLocks noGrp="1"/>
          </p:cNvSpPr>
          <p:nvPr>
            <p:ph type="body" sz="quarter" idx="11" hasCustomPrompt="1"/>
          </p:nvPr>
        </p:nvSpPr>
        <p:spPr>
          <a:xfrm>
            <a:off x="457200" y="4830082"/>
            <a:ext cx="8686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GB"/>
              <a:t>Type your subtitle here</a:t>
            </a:r>
            <a:endParaRPr lang="en-GB" dirty="0"/>
          </a:p>
        </p:txBody>
      </p:sp>
      <p:sp>
        <p:nvSpPr>
          <p:cNvPr id="4" name="Presenter"/>
          <p:cNvSpPr>
            <a:spLocks noGrp="1"/>
          </p:cNvSpPr>
          <p:nvPr>
            <p:ph type="body" sz="quarter" idx="13" hasCustomPrompt="1"/>
          </p:nvPr>
        </p:nvSpPr>
        <p:spPr>
          <a:xfrm>
            <a:off x="457200" y="5754469"/>
            <a:ext cx="8686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GB"/>
              <a:t>Date</a:t>
            </a:r>
            <a:br>
              <a:rPr lang="en-GB"/>
            </a:br>
            <a:br>
              <a:rPr lang="en-GB"/>
            </a:br>
            <a:r>
              <a:rPr lang="en-GB"/>
              <a:t>Presenter, Location (optional) | Presenter 2, Location 2 (optional) | etc.</a:t>
            </a:r>
            <a:endParaRPr lang="en-GB" dirty="0"/>
          </a:p>
        </p:txBody>
      </p:sp>
      <p:sp>
        <p:nvSpPr>
          <p:cNvPr id="23" name="Client Logo"/>
          <p:cNvSpPr>
            <a:spLocks noGrp="1"/>
          </p:cNvSpPr>
          <p:nvPr>
            <p:ph type="pic" sz="quarter" idx="12" hasCustomPrompt="1"/>
          </p:nvPr>
        </p:nvSpPr>
        <p:spPr bwMode="gray">
          <a:xfrm>
            <a:off x="6624637" y="393192"/>
            <a:ext cx="2516188"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GB"/>
              <a:t>CLIENT LOGO PLACEHOLDER</a:t>
            </a:r>
            <a:br>
              <a:rPr lang="en-GB"/>
            </a:br>
            <a:r>
              <a:rPr lang="en-GB"/>
              <a:t>Delete box if no client logo is used</a:t>
            </a:r>
            <a:endParaRPr lang="en-GB" dirty="0"/>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lang="en-GB" sz="1000" b="1" cap="all" dirty="0">
              <a:solidFill>
                <a:schemeClr val="tx1"/>
              </a:solidFill>
            </a:endParaRPr>
          </a:p>
        </p:txBody>
      </p:sp>
      <p:pic>
        <p:nvPicPr>
          <p:cNvPr id="9" name="DTP_CompanyLogo">
            <a:extLst>
              <a:ext uri="{FF2B5EF4-FFF2-40B4-BE49-F238E27FC236}">
                <a16:creationId xmlns:a16="http://schemas.microsoft.com/office/drawing/2014/main" id="{AFE65E65-1656-4C1A-910E-C0EB8F43CBC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60375" y="393192"/>
            <a:ext cx="2705100" cy="314325"/>
          </a:xfrm>
          <a:prstGeom prst="rect">
            <a:avLst/>
          </a:prstGeom>
        </p:spPr>
      </p:pic>
    </p:spTree>
    <p:extLst>
      <p:ext uri="{BB962C8B-B14F-4D97-AF65-F5344CB8AC3E}">
        <p14:creationId xmlns:p14="http://schemas.microsoft.com/office/powerpoint/2010/main" val="1455098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ig photo on righ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p:cNvSpPr>
            <a:spLocks noGrp="1"/>
          </p:cNvSpPr>
          <p:nvPr>
            <p:ph sz="half" idx="11"/>
          </p:nvPr>
        </p:nvSpPr>
        <p:spPr>
          <a:xfrm>
            <a:off x="457200"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Picture"/>
          <p:cNvSpPr>
            <a:spLocks noGrp="1"/>
          </p:cNvSpPr>
          <p:nvPr>
            <p:ph type="pic" sz="quarter" idx="20"/>
          </p:nvPr>
        </p:nvSpPr>
        <p:spPr>
          <a:xfrm>
            <a:off x="3506723" y="1399031"/>
            <a:ext cx="6094477" cy="5001768"/>
          </a:xfrm>
        </p:spPr>
        <p:txBody>
          <a:bodyPr tIns="640080" anchor="ctr"/>
          <a:lstStyle>
            <a:lvl1pPr marL="0" indent="0" algn="ctr">
              <a:buNone/>
              <a:defRPr sz="1200">
                <a:solidFill>
                  <a:srgbClr val="C3C3C3"/>
                </a:solidFill>
              </a:defRPr>
            </a:lvl1pPr>
          </a:lstStyle>
          <a:p>
            <a:r>
              <a:rPr lang="en-US"/>
              <a:t>Click icon to add picture</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ig photo on lef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5" name="Heading"/>
          <p:cNvSpPr>
            <a:spLocks noGrp="1"/>
          </p:cNvSpPr>
          <p:nvPr>
            <p:ph type="body" sz="quarter" idx="10"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p:cNvSpPr>
            <a:spLocks noGrp="1"/>
          </p:cNvSpPr>
          <p:nvPr>
            <p:ph sz="quarter" idx="11"/>
          </p:nvPr>
        </p:nvSpPr>
        <p:spPr>
          <a:xfrm>
            <a:off x="6556248"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Picture"/>
          <p:cNvSpPr>
            <a:spLocks noGrp="1"/>
          </p:cNvSpPr>
          <p:nvPr>
            <p:ph type="pic" sz="quarter" idx="20"/>
          </p:nvPr>
        </p:nvSpPr>
        <p:spPr>
          <a:xfrm>
            <a:off x="0" y="1399031"/>
            <a:ext cx="6094477" cy="5001768"/>
          </a:xfrm>
        </p:spPr>
        <p:txBody>
          <a:bodyPr tIns="640080" anchor="ctr"/>
          <a:lstStyle>
            <a:lvl1pPr marL="0" indent="0" algn="ctr">
              <a:buNone/>
              <a:defRPr sz="1200">
                <a:solidFill>
                  <a:srgbClr val="C3C3C3"/>
                </a:solidFill>
              </a:defRPr>
            </a:lvl1pPr>
          </a:lstStyle>
          <a:p>
            <a:r>
              <a:rPr lang="en-US"/>
              <a:t>Click icon to add picture</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 photos on righ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p:cNvSpPr>
            <a:spLocks noGrp="1"/>
          </p:cNvSpPr>
          <p:nvPr>
            <p:ph sz="half" idx="11"/>
          </p:nvPr>
        </p:nvSpPr>
        <p:spPr>
          <a:xfrm>
            <a:off x="457200"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7" name="Picture 1"/>
          <p:cNvSpPr>
            <a:spLocks noGrp="1"/>
          </p:cNvSpPr>
          <p:nvPr>
            <p:ph type="pic" sz="quarter" idx="20"/>
          </p:nvPr>
        </p:nvSpPr>
        <p:spPr>
          <a:xfrm>
            <a:off x="3506723" y="1399031"/>
            <a:ext cx="3001518" cy="2455164"/>
          </a:xfrm>
        </p:spPr>
        <p:txBody>
          <a:bodyPr tIns="640080" anchor="ctr"/>
          <a:lstStyle>
            <a:lvl1pPr marL="0" indent="0" algn="ctr">
              <a:buNone/>
              <a:defRPr sz="1200">
                <a:solidFill>
                  <a:srgbClr val="C3C3C3"/>
                </a:solidFill>
              </a:defRPr>
            </a:lvl1pPr>
          </a:lstStyle>
          <a:p>
            <a:r>
              <a:rPr lang="en-US"/>
              <a:t>Click icon to add picture</a:t>
            </a:r>
            <a:endParaRPr/>
          </a:p>
        </p:txBody>
      </p:sp>
      <p:sp>
        <p:nvSpPr>
          <p:cNvPr id="28" name="Picture 2"/>
          <p:cNvSpPr>
            <a:spLocks noGrp="1"/>
          </p:cNvSpPr>
          <p:nvPr>
            <p:ph type="pic" sz="quarter" idx="21"/>
          </p:nvPr>
        </p:nvSpPr>
        <p:spPr>
          <a:xfrm>
            <a:off x="6599681" y="1399031"/>
            <a:ext cx="3001518" cy="2455164"/>
          </a:xfrm>
        </p:spPr>
        <p:txBody>
          <a:bodyPr tIns="640080" anchor="ctr"/>
          <a:lstStyle>
            <a:lvl1pPr marL="0" indent="0" algn="ctr">
              <a:buNone/>
              <a:defRPr sz="1200">
                <a:solidFill>
                  <a:srgbClr val="C3C3C3"/>
                </a:solidFill>
              </a:defRPr>
            </a:lvl1pPr>
          </a:lstStyle>
          <a:p>
            <a:r>
              <a:rPr lang="en-US"/>
              <a:t>Click icon to add picture</a:t>
            </a:r>
            <a:endParaRPr/>
          </a:p>
        </p:txBody>
      </p:sp>
      <p:sp>
        <p:nvSpPr>
          <p:cNvPr id="29" name="Picture 3"/>
          <p:cNvSpPr>
            <a:spLocks noGrp="1"/>
          </p:cNvSpPr>
          <p:nvPr>
            <p:ph type="pic" sz="quarter" idx="22"/>
          </p:nvPr>
        </p:nvSpPr>
        <p:spPr>
          <a:xfrm>
            <a:off x="3506723" y="3945635"/>
            <a:ext cx="3001518" cy="2455164"/>
          </a:xfrm>
        </p:spPr>
        <p:txBody>
          <a:bodyPr tIns="640080" anchor="ctr"/>
          <a:lstStyle>
            <a:lvl1pPr marL="0" indent="0" algn="ctr">
              <a:buNone/>
              <a:defRPr sz="1200">
                <a:solidFill>
                  <a:srgbClr val="C3C3C3"/>
                </a:solidFill>
              </a:defRPr>
            </a:lvl1pPr>
          </a:lstStyle>
          <a:p>
            <a:r>
              <a:rPr lang="en-US"/>
              <a:t>Click icon to add picture</a:t>
            </a:r>
            <a:endParaRPr/>
          </a:p>
        </p:txBody>
      </p:sp>
      <p:sp>
        <p:nvSpPr>
          <p:cNvPr id="30" name="Picture 4"/>
          <p:cNvSpPr>
            <a:spLocks noGrp="1"/>
          </p:cNvSpPr>
          <p:nvPr>
            <p:ph type="pic" sz="quarter" idx="23"/>
          </p:nvPr>
        </p:nvSpPr>
        <p:spPr>
          <a:xfrm>
            <a:off x="6599681" y="3945635"/>
            <a:ext cx="3001518" cy="2455164"/>
          </a:xfrm>
        </p:spPr>
        <p:txBody>
          <a:bodyPr tIns="640080" anchor="ctr"/>
          <a:lstStyle>
            <a:lvl1pPr marL="0" indent="0" algn="ctr">
              <a:buNone/>
              <a:defRPr sz="1200">
                <a:solidFill>
                  <a:srgbClr val="C3C3C3"/>
                </a:solidFill>
              </a:defRPr>
            </a:lvl1pPr>
          </a:lstStyle>
          <a:p>
            <a:r>
              <a:rPr lang="en-US"/>
              <a:t>Click icon to add picture</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g portrait photo on right">
    <p:spTree>
      <p:nvGrpSpPr>
        <p:cNvPr id="1" name=""/>
        <p:cNvGrpSpPr/>
        <p:nvPr/>
      </p:nvGrpSpPr>
      <p:grpSpPr>
        <a:xfrm>
          <a:off x="0" y="0"/>
          <a:ext cx="0" cy="0"/>
          <a:chOff x="0" y="0"/>
          <a:chExt cx="0" cy="0"/>
        </a:xfrm>
      </p:grpSpPr>
      <p:sp>
        <p:nvSpPr>
          <p:cNvPr id="2" name="Title"/>
          <p:cNvSpPr>
            <a:spLocks noGrp="1"/>
          </p:cNvSpPr>
          <p:nvPr>
            <p:ph type="title"/>
          </p:nvPr>
        </p:nvSpPr>
        <p:spPr>
          <a:xfrm>
            <a:off x="457201" y="384048"/>
            <a:ext cx="5637213" cy="758952"/>
          </a:xfrm>
        </p:spPr>
        <p:txBody>
          <a:bodyPr/>
          <a:lstStyle/>
          <a:p>
            <a:r>
              <a:rPr lang="en-US"/>
              <a:t>Click to edit Master title style</a:t>
            </a:r>
            <a:endParaRPr/>
          </a:p>
        </p:txBody>
      </p:sp>
      <p:sp>
        <p:nvSpPr>
          <p:cNvPr id="5" name="Heading"/>
          <p:cNvSpPr>
            <a:spLocks noGrp="1"/>
          </p:cNvSpPr>
          <p:nvPr>
            <p:ph type="body" sz="quarter" idx="10" hasCustomPrompt="1"/>
          </p:nvPr>
        </p:nvSpPr>
        <p:spPr>
          <a:xfrm>
            <a:off x="457199" y="1399032"/>
            <a:ext cx="563721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p:cNvSpPr>
            <a:spLocks noGrp="1"/>
          </p:cNvSpPr>
          <p:nvPr>
            <p:ph sz="quarter" idx="11"/>
          </p:nvPr>
        </p:nvSpPr>
        <p:spPr>
          <a:xfrm>
            <a:off x="457199" y="1883664"/>
            <a:ext cx="5637213"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Picture"/>
          <p:cNvSpPr>
            <a:spLocks noGrp="1"/>
          </p:cNvSpPr>
          <p:nvPr>
            <p:ph type="pic" sz="quarter" idx="20"/>
          </p:nvPr>
        </p:nvSpPr>
        <p:spPr>
          <a:xfrm>
            <a:off x="6553200" y="0"/>
            <a:ext cx="3048001" cy="6858000"/>
          </a:xfrm>
        </p:spPr>
        <p:txBody>
          <a:bodyPr tIns="640080" anchor="ctr"/>
          <a:lstStyle>
            <a:lvl1pPr marL="0" indent="0" algn="ctr">
              <a:buNone/>
              <a:defRPr sz="1200">
                <a:solidFill>
                  <a:srgbClr val="C3C3C3"/>
                </a:solidFill>
              </a:defRPr>
            </a:lvl1pPr>
          </a:lstStyle>
          <a:p>
            <a:r>
              <a:rPr lang="en-US"/>
              <a:t>Click icon to add picture</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ircular photos with textboxe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type="body" sz="half" idx="11"/>
          </p:nvPr>
        </p:nvSpPr>
        <p:spPr>
          <a:xfrm>
            <a:off x="457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Left"/>
          <p:cNvSpPr>
            <a:spLocks noGrp="1"/>
          </p:cNvSpPr>
          <p:nvPr>
            <p:ph type="body" idx="13" hasCustomPrompt="1"/>
          </p:nvPr>
        </p:nvSpPr>
        <p:spPr>
          <a:xfrm>
            <a:off x="5029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Middle Left"/>
          <p:cNvSpPr>
            <a:spLocks noGrp="1"/>
          </p:cNvSpPr>
          <p:nvPr>
            <p:ph type="body" sz="half" idx="12"/>
          </p:nvPr>
        </p:nvSpPr>
        <p:spPr>
          <a:xfrm>
            <a:off x="2743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5" hasCustomPrompt="1"/>
          </p:nvPr>
        </p:nvSpPr>
        <p:spPr>
          <a:xfrm>
            <a:off x="2743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2" name="Content Middle Right"/>
          <p:cNvSpPr>
            <a:spLocks noGrp="1"/>
          </p:cNvSpPr>
          <p:nvPr>
            <p:ph type="body" sz="half" idx="14"/>
          </p:nvPr>
        </p:nvSpPr>
        <p:spPr>
          <a:xfrm>
            <a:off x="5029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p:cNvSpPr>
            <a:spLocks noGrp="1"/>
          </p:cNvSpPr>
          <p:nvPr>
            <p:ph type="body" idx="17" hasCustomPrompt="1"/>
          </p:nvPr>
        </p:nvSpPr>
        <p:spPr>
          <a:xfrm>
            <a:off x="7315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4" name="Content Right"/>
          <p:cNvSpPr>
            <a:spLocks noGrp="1"/>
          </p:cNvSpPr>
          <p:nvPr>
            <p:ph type="body" sz="half" idx="16"/>
          </p:nvPr>
        </p:nvSpPr>
        <p:spPr>
          <a:xfrm>
            <a:off x="7315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7" name="Picture 1"/>
          <p:cNvSpPr>
            <a:spLocks noGrp="1" noChangeAspect="1"/>
          </p:cNvSpPr>
          <p:nvPr>
            <p:ph type="pic" sz="quarter" idx="20"/>
          </p:nvPr>
        </p:nvSpPr>
        <p:spPr>
          <a:xfrm>
            <a:off x="457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a:t>Click icon to add picture</a:t>
            </a:r>
            <a:endParaRPr/>
          </a:p>
        </p:txBody>
      </p:sp>
      <p:sp>
        <p:nvSpPr>
          <p:cNvPr id="28" name="Picture 2"/>
          <p:cNvSpPr>
            <a:spLocks noGrp="1" noChangeAspect="1"/>
          </p:cNvSpPr>
          <p:nvPr>
            <p:ph type="pic" sz="quarter" idx="21"/>
          </p:nvPr>
        </p:nvSpPr>
        <p:spPr>
          <a:xfrm>
            <a:off x="2743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a:t>Click icon to add picture</a:t>
            </a:r>
            <a:endParaRPr/>
          </a:p>
        </p:txBody>
      </p:sp>
      <p:sp>
        <p:nvSpPr>
          <p:cNvPr id="29" name="Picture 3"/>
          <p:cNvSpPr>
            <a:spLocks noGrp="1" noChangeAspect="1"/>
          </p:cNvSpPr>
          <p:nvPr>
            <p:ph type="pic" sz="quarter" idx="22"/>
          </p:nvPr>
        </p:nvSpPr>
        <p:spPr>
          <a:xfrm>
            <a:off x="5029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a:t>Click icon to add picture</a:t>
            </a:r>
            <a:endParaRPr/>
          </a:p>
        </p:txBody>
      </p:sp>
      <p:sp>
        <p:nvSpPr>
          <p:cNvPr id="30" name="Picture 4"/>
          <p:cNvSpPr>
            <a:spLocks noGrp="1" noChangeAspect="1"/>
          </p:cNvSpPr>
          <p:nvPr>
            <p:ph type="pic" sz="quarter" idx="23"/>
          </p:nvPr>
        </p:nvSpPr>
        <p:spPr>
          <a:xfrm>
            <a:off x="7315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a:t>Click icon to add picture</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041713"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3840480"/>
            <a:ext cx="2130552" cy="487569"/>
          </a:xfrm>
        </p:spPr>
        <p:txBody>
          <a:bodyPr anchor="b">
            <a:noAutofit/>
          </a:bodyPr>
          <a:lstStyle>
            <a:lvl1pPr algn="ctr">
              <a:defRPr sz="1800"/>
            </a:lvl1pPr>
          </a:lstStyle>
          <a:p>
            <a:r>
              <a:t>Name</a:t>
            </a:r>
          </a:p>
        </p:txBody>
      </p:sp>
      <p:sp>
        <p:nvSpPr>
          <p:cNvPr id="5" name="Role"/>
          <p:cNvSpPr>
            <a:spLocks noGrp="1"/>
          </p:cNvSpPr>
          <p:nvPr>
            <p:ph type="body" sz="quarter" idx="10" hasCustomPrompt="1"/>
          </p:nvPr>
        </p:nvSpPr>
        <p:spPr>
          <a:xfrm>
            <a:off x="457200" y="4416552"/>
            <a:ext cx="2130552" cy="365760"/>
          </a:xfrm>
        </p:spPr>
        <p:txBody>
          <a:bodyPr/>
          <a:lstStyle>
            <a:lvl1pPr marL="0" indent="0" algn="ctr">
              <a:spcBef>
                <a:spcPts val="0"/>
              </a:spcBef>
              <a:buFont typeface="Arial" panose="020B0604020202020204" pitchFamily="34" charset="0"/>
              <a:buChar char="​"/>
              <a:defRPr sz="1200" b="0">
                <a:solidFill>
                  <a:schemeClr val="tx1"/>
                </a:solidFill>
              </a:defRPr>
            </a:lvl1pPr>
            <a:lvl2pPr marL="0" indent="0" algn="ctr">
              <a:spcBef>
                <a:spcPts val="0"/>
              </a:spcBef>
              <a:buFont typeface="Arial" panose="020B0604020202020204" pitchFamily="34" charset="0"/>
              <a:buChar char="​"/>
              <a:defRPr sz="1200">
                <a:solidFill>
                  <a:schemeClr val="tx1"/>
                </a:solidFill>
              </a:defRPr>
            </a:lvl2pPr>
            <a:lvl3pPr marL="0" indent="0" algn="ctr">
              <a:spcBef>
                <a:spcPts val="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sz="1200">
                <a:solidFill>
                  <a:schemeClr val="tx1"/>
                </a:solidFill>
              </a:defRPr>
            </a:lvl4pPr>
            <a:lvl5pPr marL="0" indent="0" algn="ctr">
              <a:spcBef>
                <a:spcPts val="0"/>
              </a:spcBef>
              <a:buFont typeface="Arial" panose="020B0604020202020204" pitchFamily="34" charset="0"/>
              <a:buChar char="​"/>
              <a:defRPr sz="1200">
                <a:solidFill>
                  <a:schemeClr val="tx1"/>
                </a:solidFill>
              </a:defRPr>
            </a:lvl5pPr>
            <a:lvl6pPr marL="0" indent="0" algn="ctr">
              <a:spcBef>
                <a:spcPts val="0"/>
              </a:spcBef>
              <a:buFont typeface="Arial" panose="020B0604020202020204" pitchFamily="34" charset="0"/>
              <a:buChar char="​"/>
              <a:defRPr sz="1200">
                <a:solidFill>
                  <a:schemeClr val="tx1"/>
                </a:solidFill>
              </a:defRPr>
            </a:lvl6pPr>
            <a:lvl7pPr marL="0" indent="0" algn="ctr">
              <a:spcBef>
                <a:spcPts val="0"/>
              </a:spcBef>
              <a:buFont typeface="Arial" panose="020B0604020202020204" pitchFamily="34" charset="0"/>
              <a:buChar char="​"/>
              <a:defRPr sz="1200">
                <a:solidFill>
                  <a:schemeClr val="tx1"/>
                </a:solidFill>
              </a:defRPr>
            </a:lvl7pPr>
            <a:lvl8pPr marL="0" indent="0" algn="ctr">
              <a:spcBef>
                <a:spcPts val="0"/>
              </a:spcBef>
              <a:buFont typeface="Arial" panose="020B0604020202020204" pitchFamily="34" charset="0"/>
              <a:buChar char="​"/>
              <a:defRPr sz="1200">
                <a:solidFill>
                  <a:schemeClr val="tx1"/>
                </a:solidFill>
              </a:defRPr>
            </a:lvl8pPr>
            <a:lvl9pPr marL="0" indent="0" algn="ctr">
              <a:spcBef>
                <a:spcPts val="0"/>
              </a:spcBef>
              <a:buFont typeface="Arial" panose="020B0604020202020204" pitchFamily="34" charset="0"/>
              <a:buChar char="​"/>
              <a:defRPr sz="1200">
                <a:solidFill>
                  <a:schemeClr val="tx1"/>
                </a:solidFill>
              </a:defRPr>
            </a:lvl9pPr>
          </a:lstStyle>
          <a:p>
            <a:pPr lvl="0"/>
            <a:r>
              <a:t>Role &amp; Position</a:t>
            </a:r>
          </a:p>
          <a:p>
            <a:pPr lvl="1"/>
            <a:endParaRPr/>
          </a:p>
        </p:txBody>
      </p:sp>
      <p:sp>
        <p:nvSpPr>
          <p:cNvPr id="7" name="Headshot"/>
          <p:cNvSpPr>
            <a:spLocks noGrp="1" noChangeAspect="1"/>
          </p:cNvSpPr>
          <p:nvPr>
            <p:ph type="pic" sz="quarter" idx="20" hasCustomPrompt="1"/>
          </p:nvPr>
        </p:nvSpPr>
        <p:spPr>
          <a:xfrm>
            <a:off x="457200" y="1399032"/>
            <a:ext cx="2130552" cy="2130552"/>
          </a:xfrm>
          <a:prstGeom prst="ellipse">
            <a:avLst/>
          </a:prstGeom>
          <a:solidFill>
            <a:srgbClr val="EBEBEB"/>
          </a:solidFill>
        </p:spPr>
        <p:txBody>
          <a:bodyPr tIns="868680" anchor="ctr"/>
          <a:lstStyle>
            <a:lvl1pPr marL="0" indent="0" algn="ctr">
              <a:buNone/>
              <a:defRPr sz="1200">
                <a:solidFill>
                  <a:schemeClr val="tx1"/>
                </a:solidFill>
              </a:defRPr>
            </a:lvl1pPr>
          </a:lstStyle>
          <a:p>
            <a:r>
              <a:t>Click icon to add headshot</a:t>
            </a:r>
          </a:p>
        </p:txBody>
      </p:sp>
      <p:sp>
        <p:nvSpPr>
          <p:cNvPr id="6" name="Content"/>
          <p:cNvSpPr>
            <a:spLocks noGrp="1"/>
          </p:cNvSpPr>
          <p:nvPr>
            <p:ph type="body" sz="quarter" idx="11"/>
          </p:nvPr>
        </p:nvSpPr>
        <p:spPr>
          <a:xfrm>
            <a:off x="3506724" y="381000"/>
            <a:ext cx="5637276" cy="60198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3" pos="2208">
          <p15:clr>
            <a:srgbClr val="FBAE40"/>
          </p15:clr>
        </p15:guide>
        <p15:guide id="7" pos="163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en-US"/>
              <a:t>Contents</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9" name="DTP_Confidentiality"/>
          <p:cNvGraphicFramePr>
            <a:graphicFrameLocks noGrp="1"/>
          </p:cNvGraphicFramePr>
          <p:nvPr userDrawn="1">
            <p:extLst>
              <p:ext uri="{D42A27DB-BD31-4B8C-83A1-F6EECF244321}">
                <p14:modId xmlns:p14="http://schemas.microsoft.com/office/powerpoint/2010/main" val="660271646"/>
              </p:ext>
            </p:extLst>
          </p:nvPr>
        </p:nvGraphicFramePr>
        <p:xfrm>
          <a:off x="457200" y="2697480"/>
          <a:ext cx="8686800" cy="1463040"/>
        </p:xfrm>
        <a:graphic>
          <a:graphicData uri="http://schemas.openxmlformats.org/drawingml/2006/table">
            <a:tbl>
              <a:tblPr/>
              <a:tblGrid>
                <a:gridCol w="8686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000" cap="none" dirty="0">
                          <a:ln>
                            <a:noFill/>
                          </a:ln>
                          <a:solidFill>
                            <a:schemeClr val="tx1"/>
                          </a:solidFill>
                          <a:effectLst/>
                          <a:latin typeface="+mj-lt"/>
                          <a:ea typeface="+mj-ea"/>
                          <a:cs typeface="+mj-cs"/>
                        </a:rPr>
                        <a:t>CONFIDENTIALITY</a:t>
                      </a:r>
                    </a:p>
                  </a:txBody>
                  <a:tcPr marL="0" marR="0" marT="0" marB="9144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Font typeface="Calibri" panose="020F0502020204030204" pitchFamily="34" charset="0"/>
                        <a:buNone/>
                        <a:tabLst/>
                      </a:pPr>
                      <a:r>
                        <a:rPr lang="en-US" sz="1000">
                          <a:ln>
                            <a:noFill/>
                          </a:ln>
                          <a:solidFill>
                            <a:schemeClr val="tx1"/>
                          </a:solidFill>
                          <a:effectLst/>
                          <a:latin typeface="+mn-lt"/>
                          <a:ea typeface="+mn-ea"/>
                          <a:cs typeface="+mn-cs"/>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endParaRPr sz="100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1687243310"/>
              </p:ext>
            </p:extLst>
          </p:nvPr>
        </p:nvGraphicFramePr>
        <p:xfrm>
          <a:off x="457200" y="2278380"/>
          <a:ext cx="8686800" cy="2301240"/>
        </p:xfrm>
        <a:graphic>
          <a:graphicData uri="http://schemas.openxmlformats.org/drawingml/2006/table">
            <a:tbl>
              <a:tblPr/>
              <a:tblGrid>
                <a:gridCol w="8686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000" cap="none" dirty="0">
                          <a:ln>
                            <a:noFill/>
                          </a:ln>
                          <a:solidFill>
                            <a:schemeClr val="tx1"/>
                          </a:solidFill>
                          <a:effectLst/>
                          <a:latin typeface="+mj-lt"/>
                          <a:ea typeface="+mj-ea"/>
                          <a:cs typeface="+mj-cs"/>
                        </a:rPr>
                        <a:t>QUALIFICATIONS, ASSUMPTIONS AND LIMITING CONDITIONS</a:t>
                      </a:r>
                    </a:p>
                  </a:txBody>
                  <a:tcPr marL="0" marR="0" marT="0" marB="9144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Font typeface="Calibri" panose="020F0502020204030204" pitchFamily="34" charset="0"/>
                        <a:buNone/>
                        <a:tabLst/>
                      </a:pPr>
                      <a:r>
                        <a:rPr lang="en-US" sz="1000">
                          <a:ln>
                            <a:noFill/>
                          </a:ln>
                          <a:solidFill>
                            <a:schemeClr val="tx1"/>
                          </a:solidFill>
                          <a:effectLst/>
                          <a:latin typeface="+mn-lt"/>
                          <a:ea typeface="+mn-ea"/>
                          <a:cs typeface="+mn-cs"/>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a:t>
                      </a:r>
                      <a:endParaRPr sz="100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pic>
        <p:nvPicPr>
          <p:cNvPr id="3" name="CompanyLogo"/>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760340" y="3246384"/>
            <a:ext cx="4080519" cy="365232"/>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2057400"/>
            <a:ext cx="8686800" cy="2772682"/>
          </a:xfrm>
        </p:spPr>
        <p:txBody>
          <a:bodyPr lIns="0" tIns="0" rIns="0" bIns="0" anchor="b">
            <a:spAutoFit/>
          </a:bodyPr>
          <a:lstStyle>
            <a:lvl1pPr marL="0" indent="0" fontAlgn="base">
              <a:lnSpc>
                <a:spcPct val="91000"/>
              </a:lnSpc>
              <a:spcBef>
                <a:spcPts val="0"/>
              </a:spcBef>
              <a:spcAft>
                <a:spcPts val="0"/>
              </a:spcAft>
              <a:buFont typeface="Arial" panose="020B0604020202020204" pitchFamily="34" charset="0"/>
              <a:buChar char="​"/>
              <a:defRPr sz="6600" cap="all">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2"/>
            <a:ext cx="8686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754469"/>
            <a:ext cx="8686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6624637" y="393192"/>
            <a:ext cx="2516188"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t>CLIENT LOGO PLACEHOLDER</a:t>
            </a:r>
            <a:br>
              <a:rPr/>
            </a:br>
            <a:r>
              <a:t>Delete box if no client logo is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endParaRPr>
          </a:p>
        </p:txBody>
      </p:sp>
      <p:pic>
        <p:nvPicPr>
          <p:cNvPr id="6" name="CompanyLogo_inv"/>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0375" y="393192"/>
            <a:ext cx="3086100" cy="276225"/>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rPr dirty="0"/>
              <a:t>Heading 12 pt</a:t>
            </a:r>
          </a:p>
          <a:p>
            <a:pPr lvl="1"/>
            <a:r>
              <a:rPr dirty="0"/>
              <a:t>Subheading 12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rPr dirty="0"/>
              <a:t>Heading 12 pt</a:t>
            </a:r>
          </a:p>
          <a:p>
            <a:pPr lvl="1"/>
            <a:r>
              <a:rPr dirty="0"/>
              <a:t>Subheading 12 pt</a:t>
            </a:r>
          </a:p>
        </p:txBody>
      </p:sp>
      <p:sp>
        <p:nvSpPr>
          <p:cNvPr id="4" name="Content"/>
          <p:cNvSpPr>
            <a:spLocks noGrp="1"/>
          </p:cNvSpPr>
          <p:nvPr>
            <p:ph idx="11"/>
          </p:nvPr>
        </p:nvSpPr>
        <p:spPr>
          <a:xfrm>
            <a:off x="457200" y="1883664"/>
            <a:ext cx="8686800"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54244"/>
            <a:ext cx="8686800" cy="1218539"/>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91000"/>
              </a:lnSpc>
              <a:spcBef>
                <a:spcPts val="0"/>
              </a:spcBef>
              <a:spcAft>
                <a:spcPts val="200"/>
              </a:spcAft>
              <a:buFont typeface="Arial" panose="020B0604020202020204" pitchFamily="34" charset="0"/>
              <a:buChar char="​"/>
              <a:defRPr sz="3200" cap="all">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1600">
                <a:solidFill>
                  <a:schemeClr val="tx1"/>
                </a:solidFill>
              </a:defRPr>
            </a:lvl2pPr>
            <a:lvl3pPr marL="0" indent="0">
              <a:lnSpc>
                <a:spcPct val="100000"/>
              </a:lnSpc>
              <a:spcBef>
                <a:spcPts val="0"/>
              </a:spcBef>
              <a:spcAft>
                <a:spcPts val="0"/>
              </a:spcAft>
              <a:buFont typeface="Arial" panose="020B0604020202020204" pitchFamily="34" charset="0"/>
              <a:buChar char="​"/>
              <a:defRPr sz="1600"/>
            </a:lvl3pPr>
            <a:lvl4pPr marL="0" indent="0">
              <a:lnSpc>
                <a:spcPct val="100000"/>
              </a:lnSpc>
              <a:spcBef>
                <a:spcPts val="0"/>
              </a:spcBef>
              <a:spcAft>
                <a:spcPts val="0"/>
              </a:spcAft>
              <a:buFont typeface="Arial" panose="020B0604020202020204" pitchFamily="34" charset="0"/>
              <a:buChar char="​"/>
              <a:defRPr sz="1600"/>
            </a:lvl4pPr>
            <a:lvl5pPr marL="0" indent="0">
              <a:lnSpc>
                <a:spcPct val="100000"/>
              </a:lnSpc>
              <a:spcBef>
                <a:spcPts val="0"/>
              </a:spcBef>
              <a:spcAft>
                <a:spcPts val="0"/>
              </a:spcAft>
              <a:buFont typeface="Arial" panose="020B0604020202020204" pitchFamily="34" charset="0"/>
              <a:buChar char="​"/>
              <a:defRPr sz="1600"/>
            </a:lvl5pPr>
            <a:lvl6pPr marL="0" indent="0">
              <a:lnSpc>
                <a:spcPct val="100000"/>
              </a:lnSpc>
              <a:spcBef>
                <a:spcPts val="0"/>
              </a:spcBef>
              <a:spcAft>
                <a:spcPts val="0"/>
              </a:spcAft>
              <a:buFont typeface="Arial" panose="020B0604020202020204" pitchFamily="34" charset="0"/>
              <a:buChar char="​"/>
              <a:defRPr sz="1600"/>
            </a:lvl6pPr>
            <a:lvl7pPr marL="0" indent="0">
              <a:lnSpc>
                <a:spcPct val="100000"/>
              </a:lnSpc>
              <a:spcBef>
                <a:spcPts val="0"/>
              </a:spcBef>
              <a:spcAft>
                <a:spcPts val="0"/>
              </a:spcAft>
              <a:buFont typeface="Arial" panose="020B0604020202020204" pitchFamily="34" charset="0"/>
              <a:buChar char="​"/>
              <a:defRPr sz="1600"/>
            </a:lvl7pPr>
            <a:lvl8pPr marL="0" indent="0">
              <a:lnSpc>
                <a:spcPct val="100000"/>
              </a:lnSpc>
              <a:spcBef>
                <a:spcPts val="0"/>
              </a:spcBef>
              <a:spcAft>
                <a:spcPts val="0"/>
              </a:spcAft>
              <a:buFont typeface="Arial" panose="020B0604020202020204" pitchFamily="34" charset="0"/>
              <a:buChar char="​"/>
              <a:defRPr sz="1600"/>
            </a:lvl8pPr>
            <a:lvl9pPr marL="0" indent="0">
              <a:lnSpc>
                <a:spcPct val="100000"/>
              </a:lnSpc>
              <a:spcBef>
                <a:spcPts val="0"/>
              </a:spcBef>
              <a:spcAft>
                <a:spcPts val="0"/>
              </a:spcAft>
              <a:buFont typeface="Arial" panose="020B0604020202020204" pitchFamily="34" charset="0"/>
              <a:buChar char="​"/>
              <a:defRPr sz="1600"/>
            </a:lvl9pPr>
          </a:lstStyle>
          <a:p>
            <a:pPr lvl="0"/>
            <a:r>
              <a:rPr dirty="0"/>
              <a:t>Add section title,</a:t>
            </a:r>
            <a:br>
              <a:rPr dirty="0"/>
            </a:br>
            <a:r>
              <a:rPr dirty="0"/>
              <a:t>press TAB to format as subtitle</a:t>
            </a:r>
          </a:p>
          <a:p>
            <a:pPr lvl="1"/>
            <a:r>
              <a:rPr dirty="0"/>
              <a:t>Section subtitle</a:t>
            </a:r>
          </a:p>
        </p:txBody>
      </p:sp>
      <p:sp>
        <p:nvSpPr>
          <p:cNvPr id="3" name="SectionNumber"/>
          <p:cNvSpPr>
            <a:spLocks noGrp="1"/>
          </p:cNvSpPr>
          <p:nvPr>
            <p:ph type="body" sz="quarter" idx="12" hasCustomPrompt="1"/>
          </p:nvPr>
        </p:nvSpPr>
        <p:spPr>
          <a:xfrm>
            <a:off x="429768" y="2680797"/>
            <a:ext cx="5943600" cy="1477328"/>
          </a:xfrm>
        </p:spPr>
        <p:txBody>
          <a:bodyPr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9600" cap="all">
                <a:solidFill>
                  <a:schemeClr val="tx1"/>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9pPr>
          </a:lstStyle>
          <a:p>
            <a:pPr lvl="0"/>
            <a:r>
              <a:rPr dirty="0"/>
              <a: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4114800"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5029200" y="1399032"/>
            <a:ext cx="4114800"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C0E8BF7-7259-494C-9009-FAFA4FA1F81D}"/>
              </a:ext>
            </a:extLst>
          </p:cNvPr>
          <p:cNvGraphicFramePr>
            <a:graphicFrameLocks noChangeAspect="1"/>
          </p:cNvGraphicFramePr>
          <p:nvPr userDrawn="1">
            <p:custDataLst>
              <p:tags r:id="rId33"/>
            </p:custDataLst>
            <p:extLst>
              <p:ext uri="{D42A27DB-BD31-4B8C-83A1-F6EECF244321}">
                <p14:modId xmlns:p14="http://schemas.microsoft.com/office/powerpoint/2010/main" val="2267452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64" name="think-cell Slide" r:id="rId35" imgW="353" imgH="353" progId="TCLayout.ActiveDocument.1">
                  <p:embed/>
                </p:oleObj>
              </mc:Choice>
              <mc:Fallback>
                <p:oleObj name="think-cell Slide" r:id="rId35" imgW="353" imgH="353"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5FAC437-45C8-4E6C-BEB4-BECA6F533F61}"/>
              </a:ext>
            </a:extLst>
          </p:cNvPr>
          <p:cNvSpPr/>
          <p:nvPr userDrawn="1">
            <p:custDataLst>
              <p:tags r:id="rId34"/>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000" b="0" i="0" kern="0" baseline="0" dirty="0" err="1">
              <a:solidFill>
                <a:schemeClr val="tx1"/>
              </a:solidFill>
              <a:latin typeface="Oswald Bold" panose="00000800000000000000" pitchFamily="2" charset="0"/>
              <a:ea typeface="+mj-ea"/>
              <a:cs typeface="+mj-cs"/>
              <a:sym typeface="Oswald Bold" panose="00000800000000000000" pitchFamily="2" charset="0"/>
            </a:endParaRPr>
          </a:p>
        </p:txBody>
      </p:sp>
      <p:sp>
        <p:nvSpPr>
          <p:cNvPr id="2" name="Title"/>
          <p:cNvSpPr>
            <a:spLocks noGrp="1"/>
          </p:cNvSpPr>
          <p:nvPr>
            <p:ph type="title"/>
          </p:nvPr>
        </p:nvSpPr>
        <p:spPr>
          <a:xfrm>
            <a:off x="457200" y="384048"/>
            <a:ext cx="8686800" cy="758952"/>
          </a:xfrm>
          <a:prstGeom prst="rect">
            <a:avLst/>
          </a:prstGeom>
        </p:spPr>
        <p:txBody>
          <a:bodyPr vert="horz" lIns="0" tIns="0" rIns="0" bIns="0" rtlCol="0" anchorCtr="0">
            <a:noAutofit/>
          </a:bodyPr>
          <a:lstStyle/>
          <a:p>
            <a:r>
              <a:rPr lang="en-GB"/>
              <a:t>Click to edit Master title style</a:t>
            </a:r>
            <a:endParaRPr lang="en-GB" dirty="0"/>
          </a:p>
        </p:txBody>
      </p:sp>
      <p:sp>
        <p:nvSpPr>
          <p:cNvPr id="3" name="BodyText"/>
          <p:cNvSpPr>
            <a:spLocks noGrp="1"/>
          </p:cNvSpPr>
          <p:nvPr>
            <p:ph type="body" idx="1"/>
          </p:nvPr>
        </p:nvSpPr>
        <p:spPr>
          <a:xfrm>
            <a:off x="457200" y="1399032"/>
            <a:ext cx="86868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29/03/2022</a:t>
            </a:fld>
            <a:endParaRPr lang="en-GB"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tx1"/>
                </a:solidFill>
              </a:defRPr>
            </a:lvl1pPr>
          </a:lstStyle>
          <a:p>
            <a:endParaRPr lang="en-GB"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dirty="0"/>
          </a:p>
        </p:txBody>
      </p:sp>
      <p:sp>
        <p:nvSpPr>
          <p:cNvPr id="7" name="SlideNumber"/>
          <p:cNvSpPr txBox="1"/>
          <p:nvPr userDrawn="1"/>
        </p:nvSpPr>
        <p:spPr>
          <a:xfrm>
            <a:off x="8994963" y="6552456"/>
            <a:ext cx="150683" cy="153888"/>
          </a:xfrm>
          <a:prstGeom prst="rect">
            <a:avLst/>
          </a:prstGeom>
          <a:noFill/>
        </p:spPr>
        <p:txBody>
          <a:bodyPr wrap="non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dirty="0"/>
          </a:p>
        </p:txBody>
      </p:sp>
      <p:sp>
        <p:nvSpPr>
          <p:cNvPr id="8" name="DTP_Copyright"/>
          <p:cNvSpPr txBox="1"/>
          <p:nvPr userDrawn="1"/>
        </p:nvSpPr>
        <p:spPr>
          <a:xfrm>
            <a:off x="457200" y="6567845"/>
            <a:ext cx="702115" cy="123111"/>
          </a:xfrm>
          <a:prstGeom prst="rect">
            <a:avLst/>
          </a:prstGeom>
          <a:noFill/>
        </p:spPr>
        <p:txBody>
          <a:bodyPr wrap="none" lIns="0" tIns="0" rIns="0" bIns="0" rtlCol="0" anchor="ctr" anchorCtr="0">
            <a:spAutoFit/>
          </a:bodyPr>
          <a:lstStyle/>
          <a:p>
            <a:pPr marL="0" indent="0" algn="l" defTabSz="914400" rtl="0" eaLnBrk="1" latinLnBrk="0" hangingPunct="1">
              <a:lnSpc>
                <a:spcPct val="100000"/>
              </a:lnSpc>
              <a:spcBef>
                <a:spcPct val="0"/>
              </a:spcBef>
              <a:spcAft>
                <a:spcPct val="0"/>
              </a:spcAft>
              <a:buFontTx/>
              <a:buNone/>
            </a:pPr>
            <a:r>
              <a:rPr lang="en-GB" sz="800" b="0" i="0" u="none" baseline="0">
                <a:solidFill>
                  <a:schemeClr val="tx1"/>
                </a:solidFill>
                <a:latin typeface="+mn-lt"/>
                <a:ea typeface="+mn-ea"/>
                <a:cs typeface="+mn-cs"/>
              </a:rPr>
              <a:t>© Oliver Wyman</a:t>
            </a:r>
            <a:endParaRPr lang="en-GB" sz="800" b="0" i="0" u="none" baseline="0" dirty="0">
              <a:solidFill>
                <a:schemeClr val="tx1"/>
              </a:solidFill>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84" r:id="rId2"/>
    <p:sldLayoutId id="2147483683" r:id="rId3"/>
    <p:sldLayoutId id="2147483654" r:id="rId4"/>
    <p:sldLayoutId id="2147483650" r:id="rId5"/>
    <p:sldLayoutId id="2147483657" r:id="rId6"/>
    <p:sldLayoutId id="2147483659" r:id="rId7"/>
    <p:sldLayoutId id="2147483651" r:id="rId8"/>
    <p:sldLayoutId id="2147483652" r:id="rId9"/>
    <p:sldLayoutId id="2147483660" r:id="rId10"/>
    <p:sldLayoutId id="2147483653" r:id="rId11"/>
    <p:sldLayoutId id="2147483658" r:id="rId12"/>
    <p:sldLayoutId id="2147483665" r:id="rId13"/>
    <p:sldLayoutId id="2147483666" r:id="rId14"/>
    <p:sldLayoutId id="2147483664" r:id="rId15"/>
    <p:sldLayoutId id="2147483667" r:id="rId16"/>
    <p:sldLayoutId id="2147483668" r:id="rId17"/>
    <p:sldLayoutId id="2147483661" r:id="rId18"/>
    <p:sldLayoutId id="2147483672" r:id="rId19"/>
    <p:sldLayoutId id="2147483676" r:id="rId20"/>
    <p:sldLayoutId id="2147483678" r:id="rId21"/>
    <p:sldLayoutId id="2147483679" r:id="rId22"/>
    <p:sldLayoutId id="2147483680" r:id="rId23"/>
    <p:sldLayoutId id="2147483681" r:id="rId24"/>
    <p:sldLayoutId id="2147483682" r:id="rId25"/>
    <p:sldLayoutId id="2147483670" r:id="rId26"/>
    <p:sldLayoutId id="2147483674" r:id="rId27"/>
    <p:sldLayoutId id="2147483675" r:id="rId28"/>
    <p:sldLayoutId id="2147483655" r:id="rId29"/>
    <p:sldLayoutId id="2147483656" r:id="rId30"/>
  </p:sldLayoutIdLst>
  <p:txStyles>
    <p:titleStyle>
      <a:lvl1pPr algn="l" defTabSz="914400" rtl="0" eaLnBrk="1" latinLnBrk="0" hangingPunct="1">
        <a:lnSpc>
          <a:spcPct val="100000"/>
        </a:lnSpc>
        <a:spcBef>
          <a:spcPct val="0"/>
        </a:spcBef>
        <a:buNone/>
        <a:defRPr sz="2000" b="0" kern="0" cap="all" baseline="0">
          <a:solidFill>
            <a:schemeClr val="tx1"/>
          </a:solidFill>
          <a:latin typeface="+mj-lt"/>
          <a:ea typeface="+mj-ea"/>
          <a:cs typeface="+mj-cs"/>
        </a:defRPr>
      </a:lvl1pPr>
    </p:titleStyle>
    <p:body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400" rtl="0" eaLnBrk="1" latinLnBrk="0" hangingPunct="1">
        <a:defRPr sz="1200" kern="0">
          <a:solidFill>
            <a:schemeClr val="tx1"/>
          </a:solidFill>
          <a:latin typeface="+mn-lt"/>
          <a:ea typeface="+mn-ea"/>
          <a:cs typeface="+mn-cs"/>
        </a:defRPr>
      </a:lvl1pPr>
      <a:lvl2pPr marL="180000" algn="l" defTabSz="914400" rtl="0" eaLnBrk="1" latinLnBrk="0" hangingPunct="1">
        <a:defRPr sz="1200" kern="0">
          <a:solidFill>
            <a:schemeClr val="tx1"/>
          </a:solidFill>
          <a:latin typeface="+mn-lt"/>
          <a:ea typeface="+mn-ea"/>
          <a:cs typeface="+mn-cs"/>
        </a:defRPr>
      </a:lvl2pPr>
      <a:lvl3pPr marL="360000" algn="l" defTabSz="914400" rtl="0" eaLnBrk="1" latinLnBrk="0" hangingPunct="1">
        <a:defRPr sz="1200" kern="0">
          <a:solidFill>
            <a:schemeClr val="tx1"/>
          </a:solidFill>
          <a:latin typeface="+mn-lt"/>
          <a:ea typeface="+mn-ea"/>
          <a:cs typeface="+mn-cs"/>
        </a:defRPr>
      </a:lvl3pPr>
      <a:lvl4pPr marL="540000" algn="l" defTabSz="914400" rtl="0" eaLnBrk="1" latinLnBrk="0" hangingPunct="1">
        <a:defRPr sz="1200" kern="0">
          <a:solidFill>
            <a:schemeClr val="tx1"/>
          </a:solidFill>
          <a:latin typeface="+mn-lt"/>
          <a:ea typeface="+mn-ea"/>
          <a:cs typeface="+mn-cs"/>
        </a:defRPr>
      </a:lvl4pPr>
      <a:lvl5pPr marL="720000" algn="l" defTabSz="914400" rtl="0" eaLnBrk="1" latinLnBrk="0" hangingPunct="1">
        <a:defRPr sz="1200" kern="0">
          <a:solidFill>
            <a:schemeClr val="tx1"/>
          </a:solidFill>
          <a:latin typeface="+mn-lt"/>
          <a:ea typeface="+mn-ea"/>
          <a:cs typeface="+mn-cs"/>
        </a:defRPr>
      </a:lvl5pPr>
      <a:lvl6pPr marL="900000" algn="l" defTabSz="914400" rtl="0" eaLnBrk="1" latinLnBrk="0" hangingPunct="1">
        <a:defRPr sz="1200" kern="0">
          <a:solidFill>
            <a:schemeClr val="tx1"/>
          </a:solidFill>
          <a:latin typeface="+mn-lt"/>
          <a:ea typeface="+mn-ea"/>
          <a:cs typeface="+mn-cs"/>
        </a:defRPr>
      </a:lvl6pPr>
      <a:lvl7pPr marL="1080000" algn="l" defTabSz="914400" rtl="0" eaLnBrk="1" latinLnBrk="0" hangingPunct="1">
        <a:defRPr sz="1200" kern="0">
          <a:solidFill>
            <a:schemeClr val="tx1"/>
          </a:solidFill>
          <a:latin typeface="+mn-lt"/>
          <a:ea typeface="+mn-ea"/>
          <a:cs typeface="+mn-cs"/>
        </a:defRPr>
      </a:lvl7pPr>
      <a:lvl8pPr marL="1260000" algn="l" defTabSz="914400" rtl="0" eaLnBrk="1" latinLnBrk="0" hangingPunct="1">
        <a:defRPr sz="1200" kern="0">
          <a:solidFill>
            <a:schemeClr val="tx1"/>
          </a:solidFill>
          <a:latin typeface="+mn-lt"/>
          <a:ea typeface="+mn-ea"/>
          <a:cs typeface="+mn-cs"/>
        </a:defRPr>
      </a:lvl8pPr>
      <a:lvl9pPr marL="1440000" algn="l" defTabSz="91440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760">
          <p15:clr>
            <a:srgbClr val="F26B43"/>
          </p15:clr>
        </p15:guide>
        <p15:guide id="3" orient="horz" pos="242">
          <p15:clr>
            <a:srgbClr val="F26B43"/>
          </p15:clr>
        </p15:guide>
        <p15:guide id="4" orient="horz" pos="40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notesSlide" Target="../notesSlides/notesSlide2.xml"/><Relationship Id="rId5" Type="http://schemas.openxmlformats.org/officeDocument/2006/relationships/slideLayout" Target="../slideLayouts/slideLayout7.xml"/><Relationship Id="rId10" Type="http://schemas.openxmlformats.org/officeDocument/2006/relationships/image" Target="../media/image11.svg"/><Relationship Id="rId4" Type="http://schemas.openxmlformats.org/officeDocument/2006/relationships/tags" Target="../tags/tag7.xm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0.xml"/><Relationship Id="rId7" Type="http://schemas.openxmlformats.org/officeDocument/2006/relationships/image" Target="../media/image13.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4.xml"/><Relationship Id="rId9" Type="http://schemas.openxmlformats.org/officeDocument/2006/relationships/hyperlink" Target="https://oliverwymangroup.wufoo.com/forms/p38d9zl0tcnp17/" TargetMode="Externa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5.jp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195205-BFBC-4742-AE35-9EAB500064DB}"/>
              </a:ext>
            </a:extLst>
          </p:cNvPr>
          <p:cNvSpPr>
            <a:spLocks noGrp="1"/>
          </p:cNvSpPr>
          <p:nvPr>
            <p:ph type="body" sz="quarter" idx="10"/>
          </p:nvPr>
        </p:nvSpPr>
        <p:spPr>
          <a:xfrm>
            <a:off x="457200" y="2367908"/>
            <a:ext cx="8686800" cy="1848455"/>
          </a:xfrm>
        </p:spPr>
        <p:txBody>
          <a:bodyPr/>
          <a:lstStyle/>
          <a:p>
            <a:r>
              <a:rPr lang="en-SG" dirty="0">
                <a:solidFill>
                  <a:srgbClr val="002C77"/>
                </a:solidFill>
              </a:rPr>
              <a:t>Oliver Wyman Impact</a:t>
            </a:r>
          </a:p>
          <a:p>
            <a:r>
              <a:rPr lang="en-GB" dirty="0">
                <a:solidFill>
                  <a:srgbClr val="002C77"/>
                </a:solidFill>
              </a:rPr>
              <a:t>Mainland China</a:t>
            </a:r>
          </a:p>
        </p:txBody>
      </p:sp>
      <p:sp>
        <p:nvSpPr>
          <p:cNvPr id="3" name="Text Placeholder 2">
            <a:extLst>
              <a:ext uri="{FF2B5EF4-FFF2-40B4-BE49-F238E27FC236}">
                <a16:creationId xmlns:a16="http://schemas.microsoft.com/office/drawing/2014/main" id="{00A13F5C-05B2-4966-975E-BF19C5BFB952}"/>
              </a:ext>
            </a:extLst>
          </p:cNvPr>
          <p:cNvSpPr>
            <a:spLocks noGrp="1"/>
          </p:cNvSpPr>
          <p:nvPr>
            <p:ph type="body" sz="quarter" idx="11"/>
          </p:nvPr>
        </p:nvSpPr>
        <p:spPr/>
        <p:txBody>
          <a:bodyPr/>
          <a:lstStyle/>
          <a:p>
            <a:r>
              <a:rPr lang="en-GB" dirty="0"/>
              <a:t>Case Competition 2022</a:t>
            </a:r>
          </a:p>
        </p:txBody>
      </p:sp>
      <p:sp>
        <p:nvSpPr>
          <p:cNvPr id="7" name="Text Placeholder 6">
            <a:extLst>
              <a:ext uri="{FF2B5EF4-FFF2-40B4-BE49-F238E27FC236}">
                <a16:creationId xmlns:a16="http://schemas.microsoft.com/office/drawing/2014/main" id="{CE40628D-6398-4EE7-BD8C-17AEE6151871}"/>
              </a:ext>
            </a:extLst>
          </p:cNvPr>
          <p:cNvSpPr>
            <a:spLocks noGrp="1"/>
          </p:cNvSpPr>
          <p:nvPr>
            <p:ph type="body" sz="quarter" idx="13"/>
          </p:nvPr>
        </p:nvSpPr>
        <p:spPr>
          <a:xfrm>
            <a:off x="457200" y="6185356"/>
            <a:ext cx="8686800" cy="215444"/>
          </a:xfrm>
        </p:spPr>
        <p:txBody>
          <a:bodyPr/>
          <a:lstStyle/>
          <a:p>
            <a:r>
              <a:rPr lang="en-GB" dirty="0"/>
              <a:t>March 2022</a:t>
            </a:r>
          </a:p>
        </p:txBody>
      </p:sp>
    </p:spTree>
    <p:extLst>
      <p:ext uri="{BB962C8B-B14F-4D97-AF65-F5344CB8AC3E}">
        <p14:creationId xmlns:p14="http://schemas.microsoft.com/office/powerpoint/2010/main" val="33342024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F63F34-CE8F-4338-A494-905F906FC677}"/>
              </a:ext>
            </a:extLst>
          </p:cNvPr>
          <p:cNvSpPr/>
          <p:nvPr/>
        </p:nvSpPr>
        <p:spPr>
          <a:xfrm>
            <a:off x="457200" y="2459504"/>
            <a:ext cx="8686800" cy="1938992"/>
          </a:xfrm>
          <a:prstGeom prst="rect">
            <a:avLst/>
          </a:prstGeom>
        </p:spPr>
        <p:txBody>
          <a:bodyPr wrap="square">
            <a:spAutoFit/>
          </a:bodyPr>
          <a:lstStyle/>
          <a:p>
            <a:pPr algn="ctr"/>
            <a:r>
              <a:rPr lang="en-US" altLang="zh-CN" sz="8000" b="1" i="1" dirty="0">
                <a:solidFill>
                  <a:schemeClr val="accent1"/>
                </a:solidFill>
                <a:cs typeface="+mn-lt"/>
                <a:sym typeface="+mn-lt"/>
              </a:rPr>
              <a:t>Good Luck!</a:t>
            </a:r>
          </a:p>
          <a:p>
            <a:pPr algn="ctr"/>
            <a:r>
              <a:rPr lang="en-US" altLang="zh-CN" sz="3600" i="1" dirty="0">
                <a:solidFill>
                  <a:schemeClr val="tx1">
                    <a:lumMod val="50000"/>
                    <a:lumOff val="50000"/>
                  </a:schemeClr>
                </a:solidFill>
                <a:cs typeface="+mn-lt"/>
                <a:sym typeface="+mn-lt"/>
              </a:rPr>
              <a:t>See you at the Final Round</a:t>
            </a:r>
            <a:endParaRPr lang="en-US" sz="3600" i="1" dirty="0">
              <a:solidFill>
                <a:schemeClr val="tx1">
                  <a:lumMod val="50000"/>
                  <a:lumOff val="50000"/>
                </a:schemeClr>
              </a:solidFill>
              <a:cs typeface="+mn-lt"/>
              <a:sym typeface="+mn-lt"/>
            </a:endParaRPr>
          </a:p>
        </p:txBody>
      </p:sp>
      <p:sp>
        <p:nvSpPr>
          <p:cNvPr id="10" name="Title 9">
            <a:extLst>
              <a:ext uri="{FF2B5EF4-FFF2-40B4-BE49-F238E27FC236}">
                <a16:creationId xmlns:a16="http://schemas.microsoft.com/office/drawing/2014/main" id="{7C3393F3-52BC-4D94-B6A6-49A054334280}"/>
              </a:ext>
            </a:extLst>
          </p:cNvPr>
          <p:cNvSpPr>
            <a:spLocks noGrp="1"/>
          </p:cNvSpPr>
          <p:nvPr>
            <p:ph type="title"/>
          </p:nvPr>
        </p:nvSpPr>
        <p:spPr/>
        <p:txBody>
          <a:bodyPr/>
          <a:lstStyle/>
          <a:p>
            <a:r>
              <a:rPr lang="en-US" dirty="0"/>
              <a:t>Last but not the least…</a:t>
            </a:r>
          </a:p>
        </p:txBody>
      </p:sp>
      <p:sp>
        <p:nvSpPr>
          <p:cNvPr id="6" name="DTP_Label|3">
            <a:extLst>
              <a:ext uri="{FF2B5EF4-FFF2-40B4-BE49-F238E27FC236}">
                <a16:creationId xmlns:a16="http://schemas.microsoft.com/office/drawing/2014/main" id="{9F99D837-9E80-4CBD-A5D8-57E54AE9D092}"/>
              </a:ext>
            </a:extLst>
          </p:cNvPr>
          <p:cNvSpPr/>
          <p:nvPr/>
        </p:nvSpPr>
        <p:spPr>
          <a:xfrm>
            <a:off x="8311336" y="63500"/>
            <a:ext cx="832664" cy="248530"/>
          </a:xfrm>
          <a:prstGeom prst="rect">
            <a:avLst/>
          </a:prstGeom>
          <a:solidFill>
            <a:schemeClr val="bg1"/>
          </a:solidFill>
          <a:ln w="952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90043" tIns="46863" rIns="90043" bIns="46863" rtlCol="0" anchor="b" anchorCtr="0">
            <a:spAutoFit/>
          </a:bodyPr>
          <a:lstStyle/>
          <a:p>
            <a:pPr algn="r"/>
            <a:r>
              <a:rPr lang="en-GB" sz="1000" kern="0">
                <a:solidFill>
                  <a:schemeClr val="accent3"/>
                </a:solidFill>
              </a:rPr>
              <a:t>Confidential</a:t>
            </a:r>
            <a:endParaRPr lang="en-GB" sz="1000" kern="0" dirty="0">
              <a:solidFill>
                <a:schemeClr val="accent3"/>
              </a:solidFill>
            </a:endParaRPr>
          </a:p>
        </p:txBody>
      </p:sp>
    </p:spTree>
    <p:extLst>
      <p:ext uri="{BB962C8B-B14F-4D97-AF65-F5344CB8AC3E}">
        <p14:creationId xmlns:p14="http://schemas.microsoft.com/office/powerpoint/2010/main" val="1403074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4301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0542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073911B-1602-4221-8F61-92417AF4A80A}"/>
              </a:ext>
            </a:extLst>
          </p:cNvPr>
          <p:cNvSpPr>
            <a:spLocks noGrp="1"/>
          </p:cNvSpPr>
          <p:nvPr>
            <p:ph type="body" sz="quarter" idx="11"/>
          </p:nvPr>
        </p:nvSpPr>
        <p:spPr>
          <a:xfrm>
            <a:off x="457199" y="4454244"/>
            <a:ext cx="8686800" cy="921919"/>
          </a:xfrm>
        </p:spPr>
        <p:txBody>
          <a:bodyPr/>
          <a:lstStyle/>
          <a:p>
            <a:r>
              <a:rPr lang="en-US" altLang="zh-CN" dirty="0"/>
              <a:t>The Case</a:t>
            </a:r>
            <a:endParaRPr lang="en-GB" dirty="0"/>
          </a:p>
          <a:p>
            <a:endParaRPr lang="en-GB" dirty="0"/>
          </a:p>
        </p:txBody>
      </p:sp>
      <p:sp>
        <p:nvSpPr>
          <p:cNvPr id="7" name="Text Placeholder 6">
            <a:extLst>
              <a:ext uri="{FF2B5EF4-FFF2-40B4-BE49-F238E27FC236}">
                <a16:creationId xmlns:a16="http://schemas.microsoft.com/office/drawing/2014/main" id="{A27FC71B-F24E-4CF0-8FE4-5BB63D66917A}"/>
              </a:ext>
            </a:extLst>
          </p:cNvPr>
          <p:cNvSpPr>
            <a:spLocks noGrp="1"/>
          </p:cNvSpPr>
          <p:nvPr>
            <p:ph type="body" sz="quarter" idx="12"/>
          </p:nvPr>
        </p:nvSpPr>
        <p:spPr/>
        <p:txBody>
          <a:bodyPr/>
          <a:lstStyle/>
          <a:p>
            <a:r>
              <a:rPr lang="en-US" altLang="zh-CN" dirty="0"/>
              <a:t>1</a:t>
            </a:r>
            <a:endParaRPr lang="en-GB" dirty="0"/>
          </a:p>
        </p:txBody>
      </p:sp>
    </p:spTree>
    <p:extLst>
      <p:ext uri="{BB962C8B-B14F-4D97-AF65-F5344CB8AC3E}">
        <p14:creationId xmlns:p14="http://schemas.microsoft.com/office/powerpoint/2010/main" val="2034174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63AC2C52-1C7C-469A-B53F-D023D7D359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3" name="think-cell Slide" r:id="rId7" imgW="347" imgH="348" progId="TCLayout.ActiveDocument.1">
                  <p:embed/>
                </p:oleObj>
              </mc:Choice>
              <mc:Fallback>
                <p:oleObj name="think-cell Slide" r:id="rId7" imgW="347" imgH="348" progId="TCLayout.ActiveDocument.1">
                  <p:embed/>
                  <p:pic>
                    <p:nvPicPr>
                      <p:cNvPr id="15" name="Object 14" hidden="1">
                        <a:extLst>
                          <a:ext uri="{FF2B5EF4-FFF2-40B4-BE49-F238E27FC236}">
                            <a16:creationId xmlns:a16="http://schemas.microsoft.com/office/drawing/2014/main" id="{63AC2C52-1C7C-469A-B53F-D023D7D3599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F7D3F1B-61AD-4A24-84AF-6BFCE0BC353B}"/>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kern="0" dirty="0" err="1">
              <a:solidFill>
                <a:schemeClr val="tx1"/>
              </a:solidFill>
              <a:latin typeface="Oswald Bold" panose="00000800000000000000" pitchFamily="2" charset="0"/>
              <a:ea typeface="+mj-ea"/>
              <a:cs typeface="+mj-cs"/>
              <a:sym typeface="Oswald Bold" panose="00000800000000000000" pitchFamily="2" charset="0"/>
            </a:endParaRPr>
          </a:p>
        </p:txBody>
      </p:sp>
      <p:sp>
        <p:nvSpPr>
          <p:cNvPr id="5" name="Rectangle 4" hidden="1">
            <a:extLst>
              <a:ext uri="{FF2B5EF4-FFF2-40B4-BE49-F238E27FC236}">
                <a16:creationId xmlns:a16="http://schemas.microsoft.com/office/drawing/2014/main" id="{777ADDE9-0ACF-48D7-A77A-200847369FA6}"/>
              </a:ext>
            </a:extLst>
          </p:cNvPr>
          <p:cNvSpPr/>
          <p:nvPr>
            <p:custDataLst>
              <p:tags r:id="rId4"/>
            </p:custDataLst>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pPr>
            <a:endParaRPr lang="en-GB" sz="2000" kern="0" dirty="0" err="1">
              <a:solidFill>
                <a:schemeClr val="tx1"/>
              </a:solidFill>
              <a:latin typeface="Oswald Bold" panose="00000800000000000000" pitchFamily="2" charset="0"/>
              <a:ea typeface="+mj-ea"/>
              <a:cs typeface="+mj-cs"/>
              <a:sym typeface="Oswald Bold" panose="00000800000000000000" pitchFamily="2" charset="0"/>
            </a:endParaRPr>
          </a:p>
        </p:txBody>
      </p:sp>
      <p:sp>
        <p:nvSpPr>
          <p:cNvPr id="10" name="Title 9">
            <a:extLst>
              <a:ext uri="{FF2B5EF4-FFF2-40B4-BE49-F238E27FC236}">
                <a16:creationId xmlns:a16="http://schemas.microsoft.com/office/drawing/2014/main" id="{68405434-2551-44EF-B705-D4E0949ABB93}"/>
              </a:ext>
            </a:extLst>
          </p:cNvPr>
          <p:cNvSpPr>
            <a:spLocks noGrp="1"/>
          </p:cNvSpPr>
          <p:nvPr>
            <p:ph type="title"/>
          </p:nvPr>
        </p:nvSpPr>
        <p:spPr>
          <a:xfrm>
            <a:off x="457200" y="384048"/>
            <a:ext cx="8686800" cy="758952"/>
          </a:xfrm>
        </p:spPr>
        <p:txBody>
          <a:bodyPr vert="horz"/>
          <a:lstStyle/>
          <a:p>
            <a:r>
              <a:rPr lang="en-GB" dirty="0"/>
              <a:t>Welcome to 2022 Oliver Wyman Impact Mainland China case competition!</a:t>
            </a:r>
          </a:p>
        </p:txBody>
      </p:sp>
      <p:sp>
        <p:nvSpPr>
          <p:cNvPr id="2" name="Text Placeholder 1">
            <a:extLst>
              <a:ext uri="{FF2B5EF4-FFF2-40B4-BE49-F238E27FC236}">
                <a16:creationId xmlns:a16="http://schemas.microsoft.com/office/drawing/2014/main" id="{6056135A-F473-4AA4-BB42-F40571D5DF4C}"/>
              </a:ext>
            </a:extLst>
          </p:cNvPr>
          <p:cNvSpPr>
            <a:spLocks noGrp="1"/>
          </p:cNvSpPr>
          <p:nvPr>
            <p:ph type="body" idx="10"/>
          </p:nvPr>
        </p:nvSpPr>
        <p:spPr/>
        <p:txBody>
          <a:bodyPr/>
          <a:lstStyle/>
          <a:p>
            <a:r>
              <a:rPr lang="en-GB" sz="1400" dirty="0"/>
              <a:t>Case background</a:t>
            </a:r>
          </a:p>
        </p:txBody>
      </p:sp>
      <p:grpSp>
        <p:nvGrpSpPr>
          <p:cNvPr id="20" name="Group 19">
            <a:extLst>
              <a:ext uri="{FF2B5EF4-FFF2-40B4-BE49-F238E27FC236}">
                <a16:creationId xmlns:a16="http://schemas.microsoft.com/office/drawing/2014/main" id="{8B12BBC4-ED8D-4851-8449-0899BDE015B5}"/>
              </a:ext>
            </a:extLst>
          </p:cNvPr>
          <p:cNvGrpSpPr/>
          <p:nvPr/>
        </p:nvGrpSpPr>
        <p:grpSpPr>
          <a:xfrm>
            <a:off x="5418153" y="1887387"/>
            <a:ext cx="2938506" cy="3375733"/>
            <a:chOff x="7049474" y="1887388"/>
            <a:chExt cx="2069513" cy="2377440"/>
          </a:xfrm>
        </p:grpSpPr>
        <p:sp>
          <p:nvSpPr>
            <p:cNvPr id="13" name="Double Bracket 12">
              <a:extLst>
                <a:ext uri="{FF2B5EF4-FFF2-40B4-BE49-F238E27FC236}">
                  <a16:creationId xmlns:a16="http://schemas.microsoft.com/office/drawing/2014/main" id="{82459F99-97B9-4C6C-8902-2165E2328B00}"/>
                </a:ext>
              </a:extLst>
            </p:cNvPr>
            <p:cNvSpPr/>
            <p:nvPr/>
          </p:nvSpPr>
          <p:spPr>
            <a:xfrm>
              <a:off x="7049474" y="1887388"/>
              <a:ext cx="2069513" cy="2377440"/>
            </a:xfrm>
            <a:prstGeom prst="bracketPair">
              <a:avLst>
                <a:gd name="adj" fmla="val 7813"/>
              </a:avLst>
            </a:prstGeom>
            <a:noFill/>
            <a:ln w="5715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63040" rIns="91440" bIns="182880" numCol="1" spcCol="0" rtlCol="0" fromWordArt="0" anchor="ctr" anchorCtr="0" forceAA="0" compatLnSpc="1">
              <a:prstTxWarp prst="textNoShape">
                <a:avLst/>
              </a:prstTxWarp>
              <a:noAutofit/>
            </a:bodyPr>
            <a:lstStyle/>
            <a:p>
              <a:pPr algn="ctr">
                <a:spcBef>
                  <a:spcPts val="1200"/>
                </a:spcBef>
              </a:pPr>
              <a:endParaRPr lang="en-GB" altLang="zh-CN" sz="1400" kern="0" dirty="0">
                <a:solidFill>
                  <a:schemeClr val="tx1"/>
                </a:solidFill>
              </a:endParaRPr>
            </a:p>
            <a:p>
              <a:pPr algn="ctr">
                <a:spcBef>
                  <a:spcPts val="1200"/>
                </a:spcBef>
              </a:pPr>
              <a:r>
                <a:rPr lang="en-GB" altLang="zh-CN" sz="1400" kern="0" dirty="0">
                  <a:solidFill>
                    <a:schemeClr val="tx1"/>
                  </a:solidFill>
                </a:rPr>
                <a:t>Your team is invited by the Chief Strategy Officer of the client to provide your advice and perspectives on this topic</a:t>
              </a:r>
              <a:r>
                <a:rPr lang="en-US" altLang="zh-CN" sz="1400" kern="0" dirty="0">
                  <a:solidFill>
                    <a:schemeClr val="tx1"/>
                  </a:solidFill>
                </a:rPr>
                <a:t>.</a:t>
              </a:r>
              <a:endParaRPr lang="en-GB" altLang="zh-CN" sz="1400" kern="0" dirty="0">
                <a:solidFill>
                  <a:schemeClr val="tx1"/>
                </a:solidFill>
              </a:endParaRPr>
            </a:p>
          </p:txBody>
        </p:sp>
        <p:pic>
          <p:nvPicPr>
            <p:cNvPr id="14" name="Graphic 13">
              <a:extLst>
                <a:ext uri="{FF2B5EF4-FFF2-40B4-BE49-F238E27FC236}">
                  <a16:creationId xmlns:a16="http://schemas.microsoft.com/office/drawing/2014/main" id="{E3803DF3-F951-4AF5-BCDF-C62119816DB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60920" y="1887388"/>
              <a:ext cx="1371600" cy="1371600"/>
            </a:xfrm>
            <a:prstGeom prst="rect">
              <a:avLst/>
            </a:prstGeom>
          </p:spPr>
        </p:pic>
      </p:grpSp>
      <p:sp>
        <p:nvSpPr>
          <p:cNvPr id="16" name="Rectangle 15">
            <a:extLst>
              <a:ext uri="{FF2B5EF4-FFF2-40B4-BE49-F238E27FC236}">
                <a16:creationId xmlns:a16="http://schemas.microsoft.com/office/drawing/2014/main" id="{0AD9D43F-92B8-4DF7-AD8F-047ADA987525}"/>
              </a:ext>
            </a:extLst>
          </p:cNvPr>
          <p:cNvSpPr/>
          <p:nvPr/>
        </p:nvSpPr>
        <p:spPr>
          <a:xfrm>
            <a:off x="696906" y="1887387"/>
            <a:ext cx="4139921" cy="28982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marR="0">
              <a:spcBef>
                <a:spcPts val="1000"/>
              </a:spcBef>
              <a:spcAft>
                <a:spcPts val="0"/>
              </a:spcAft>
            </a:pPr>
            <a:r>
              <a:rPr lang="en-US" sz="1400" kern="0" dirty="0">
                <a:solidFill>
                  <a:schemeClr val="tx1"/>
                </a:solidFill>
              </a:rPr>
              <a:t>Our client is an emerging </a:t>
            </a:r>
            <a:r>
              <a:rPr lang="en-US" altLang="zh-CN" sz="1400" kern="0" dirty="0">
                <a:solidFill>
                  <a:schemeClr val="tx1"/>
                </a:solidFill>
              </a:rPr>
              <a:t>auto manufacturer in China, focusing on entry-level passenger vehicles targeting young customers. Though in start with their business, they are facing intense pressure from both local and global competitors. </a:t>
            </a:r>
          </a:p>
          <a:p>
            <a:pPr>
              <a:spcBef>
                <a:spcPts val="1000"/>
              </a:spcBef>
            </a:pPr>
            <a:r>
              <a:rPr lang="en-US" sz="1400" kern="0" dirty="0">
                <a:solidFill>
                  <a:schemeClr val="tx1"/>
                </a:solidFill>
              </a:rPr>
              <a:t>However, our client is now struggling with limited knowledge on market and major competitors’ business models. Besides, they would like to </a:t>
            </a:r>
            <a:r>
              <a:rPr lang="en-US" altLang="zh-CN" sz="1400" kern="0" dirty="0">
                <a:solidFill>
                  <a:schemeClr val="tx1"/>
                </a:solidFill>
              </a:rPr>
              <a:t>understand whether they are able to capture the opportunities in such complex and dynamic market in China, as well as which go-to-market model they should take. </a:t>
            </a:r>
            <a:endParaRPr lang="en-US" sz="1400" kern="0" dirty="0">
              <a:solidFill>
                <a:schemeClr val="tx1"/>
              </a:solidFill>
            </a:endParaRPr>
          </a:p>
        </p:txBody>
      </p:sp>
      <p:sp>
        <p:nvSpPr>
          <p:cNvPr id="11" name="DTP_Label|3">
            <a:extLst>
              <a:ext uri="{FF2B5EF4-FFF2-40B4-BE49-F238E27FC236}">
                <a16:creationId xmlns:a16="http://schemas.microsoft.com/office/drawing/2014/main" id="{3BDF7551-9138-4BF2-87A4-FDF89DCF318C}"/>
              </a:ext>
            </a:extLst>
          </p:cNvPr>
          <p:cNvSpPr/>
          <p:nvPr/>
        </p:nvSpPr>
        <p:spPr>
          <a:xfrm>
            <a:off x="8311336" y="63500"/>
            <a:ext cx="832664" cy="248530"/>
          </a:xfrm>
          <a:prstGeom prst="rect">
            <a:avLst/>
          </a:prstGeom>
          <a:solidFill>
            <a:schemeClr val="bg1"/>
          </a:solidFill>
          <a:ln w="952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90043" tIns="46863" rIns="90043" bIns="46863" rtlCol="0" anchor="b" anchorCtr="0">
            <a:spAutoFit/>
          </a:bodyPr>
          <a:lstStyle/>
          <a:p>
            <a:pPr algn="r"/>
            <a:r>
              <a:rPr lang="en-GB" sz="1000" kern="0">
                <a:solidFill>
                  <a:schemeClr val="accent3"/>
                </a:solidFill>
              </a:rPr>
              <a:t>Confidential</a:t>
            </a:r>
            <a:endParaRPr lang="en-GB" sz="1000" kern="0" dirty="0">
              <a:solidFill>
                <a:schemeClr val="accent3"/>
              </a:solidFill>
            </a:endParaRPr>
          </a:p>
        </p:txBody>
      </p:sp>
    </p:spTree>
    <p:extLst>
      <p:ext uri="{BB962C8B-B14F-4D97-AF65-F5344CB8AC3E}">
        <p14:creationId xmlns:p14="http://schemas.microsoft.com/office/powerpoint/2010/main" val="5990415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63AC2C52-1C7C-469A-B53F-D023D7D359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7" name="think-cell Slide" r:id="rId6" imgW="347" imgH="348" progId="TCLayout.ActiveDocument.1">
                  <p:embed/>
                </p:oleObj>
              </mc:Choice>
              <mc:Fallback>
                <p:oleObj name="think-cell Slide" r:id="rId6" imgW="347" imgH="348" progId="TCLayout.ActiveDocument.1">
                  <p:embed/>
                  <p:pic>
                    <p:nvPicPr>
                      <p:cNvPr id="15" name="Object 14" hidden="1">
                        <a:extLst>
                          <a:ext uri="{FF2B5EF4-FFF2-40B4-BE49-F238E27FC236}">
                            <a16:creationId xmlns:a16="http://schemas.microsoft.com/office/drawing/2014/main" id="{63AC2C52-1C7C-469A-B53F-D023D7D359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9BD0880-21C0-4BDE-A841-4DD45F08FCFA}"/>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kern="0" dirty="0" err="1">
              <a:solidFill>
                <a:schemeClr val="tx1"/>
              </a:solidFill>
              <a:latin typeface="Oswald Bold" panose="00000800000000000000" pitchFamily="2" charset="0"/>
              <a:ea typeface="+mj-ea"/>
              <a:cs typeface="+mj-cs"/>
              <a:sym typeface="Oswald Bold" panose="00000800000000000000" pitchFamily="2" charset="0"/>
            </a:endParaRPr>
          </a:p>
        </p:txBody>
      </p:sp>
      <p:sp>
        <p:nvSpPr>
          <p:cNvPr id="668" name="DTP_Label|3">
            <a:extLst>
              <a:ext uri="{FF2B5EF4-FFF2-40B4-BE49-F238E27FC236}">
                <a16:creationId xmlns:a16="http://schemas.microsoft.com/office/drawing/2014/main" id="{2051EB82-EF31-4FDD-A438-DC38B626BB5D}"/>
              </a:ext>
            </a:extLst>
          </p:cNvPr>
          <p:cNvSpPr/>
          <p:nvPr/>
        </p:nvSpPr>
        <p:spPr>
          <a:xfrm>
            <a:off x="8311336" y="63500"/>
            <a:ext cx="832664" cy="248530"/>
          </a:xfrm>
          <a:prstGeom prst="rect">
            <a:avLst/>
          </a:prstGeom>
          <a:solidFill>
            <a:schemeClr val="bg1"/>
          </a:solidFill>
          <a:ln w="952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90043" tIns="46863" rIns="90043" bIns="46863" rtlCol="0" anchor="b" anchorCtr="0">
            <a:spAutoFit/>
          </a:bodyPr>
          <a:lstStyle/>
          <a:p>
            <a:pPr algn="r"/>
            <a:r>
              <a:rPr lang="en-GB" sz="1000" kern="0">
                <a:solidFill>
                  <a:schemeClr val="accent3"/>
                </a:solidFill>
              </a:rPr>
              <a:t>Confidential</a:t>
            </a:r>
            <a:endParaRPr lang="en-GB" sz="1000" kern="0" dirty="0">
              <a:solidFill>
                <a:schemeClr val="accent3"/>
              </a:solidFill>
            </a:endParaRPr>
          </a:p>
        </p:txBody>
      </p:sp>
      <p:sp>
        <p:nvSpPr>
          <p:cNvPr id="313" name="Rectangle 312">
            <a:extLst>
              <a:ext uri="{FF2B5EF4-FFF2-40B4-BE49-F238E27FC236}">
                <a16:creationId xmlns:a16="http://schemas.microsoft.com/office/drawing/2014/main" id="{41DEB2ED-93D8-41B4-A6CB-6CFA8D7A843C}"/>
              </a:ext>
            </a:extLst>
          </p:cNvPr>
          <p:cNvSpPr/>
          <p:nvPr/>
        </p:nvSpPr>
        <p:spPr>
          <a:xfrm>
            <a:off x="1097280" y="2263905"/>
            <a:ext cx="7789268" cy="10845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spcBef>
                <a:spcPts val="700"/>
              </a:spcBef>
            </a:pPr>
            <a:r>
              <a:rPr lang="en-GB" altLang="zh-CN" sz="1600" b="1" kern="0" cap="all" dirty="0">
                <a:solidFill>
                  <a:schemeClr val="tx1"/>
                </a:solidFill>
                <a:latin typeface="+mj-lt"/>
              </a:rPr>
              <a:t>Market overview</a:t>
            </a:r>
          </a:p>
          <a:p>
            <a:pPr marL="174625" indent="-174625">
              <a:spcBef>
                <a:spcPts val="400"/>
              </a:spcBef>
              <a:buFont typeface="+mj-lt"/>
              <a:buAutoNum type="alphaLcPeriod"/>
            </a:pPr>
            <a:r>
              <a:rPr lang="en-US" altLang="zh-CN" sz="1400" kern="0" dirty="0">
                <a:solidFill>
                  <a:schemeClr val="tx1"/>
                </a:solidFill>
              </a:rPr>
              <a:t>What are the main business models (e.g. dealership, direct sales and vendor model) and future trend for OEMs in China and globally? </a:t>
            </a:r>
          </a:p>
          <a:p>
            <a:pPr marL="174625" indent="-174625">
              <a:spcBef>
                <a:spcPts val="400"/>
              </a:spcBef>
              <a:buFont typeface="+mj-lt"/>
              <a:buAutoNum type="alphaLcPeriod"/>
            </a:pPr>
            <a:r>
              <a:rPr lang="en-US" altLang="zh-CN" sz="1400" kern="0" dirty="0">
                <a:solidFill>
                  <a:schemeClr val="tx1"/>
                </a:solidFill>
              </a:rPr>
              <a:t>What are the pros and cons for different business models?</a:t>
            </a:r>
          </a:p>
        </p:txBody>
      </p:sp>
      <p:sp>
        <p:nvSpPr>
          <p:cNvPr id="319" name="Rectangle 318">
            <a:extLst>
              <a:ext uri="{FF2B5EF4-FFF2-40B4-BE49-F238E27FC236}">
                <a16:creationId xmlns:a16="http://schemas.microsoft.com/office/drawing/2014/main" id="{BFC80852-7EFC-4965-9552-A3041542FF1A}"/>
              </a:ext>
            </a:extLst>
          </p:cNvPr>
          <p:cNvSpPr/>
          <p:nvPr/>
        </p:nvSpPr>
        <p:spPr>
          <a:xfrm>
            <a:off x="1097280" y="4869912"/>
            <a:ext cx="7789268" cy="9951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700"/>
              </a:spcBef>
            </a:pPr>
            <a:r>
              <a:rPr lang="en-GB" sz="1600" b="1" kern="0" cap="all" dirty="0">
                <a:solidFill>
                  <a:schemeClr val="tx1"/>
                </a:solidFill>
                <a:latin typeface="+mj-lt"/>
              </a:rPr>
              <a:t>business strategy</a:t>
            </a:r>
          </a:p>
          <a:p>
            <a:pPr marL="228600" indent="-228600">
              <a:spcBef>
                <a:spcPts val="400"/>
              </a:spcBef>
              <a:buFont typeface="+mj-lt"/>
              <a:buAutoNum type="alphaLcPeriod"/>
            </a:pPr>
            <a:r>
              <a:rPr lang="en-US" sz="1400" kern="0" dirty="0">
                <a:solidFill>
                  <a:schemeClr val="tx1"/>
                </a:solidFill>
              </a:rPr>
              <a:t>Given the market overview and company situation, our client wants to know their go-to-market model. What are your suggestions and why? </a:t>
            </a:r>
          </a:p>
          <a:p>
            <a:pPr marL="228600" indent="-228600">
              <a:spcBef>
                <a:spcPts val="400"/>
              </a:spcBef>
              <a:buFont typeface="+mj-lt"/>
              <a:buAutoNum type="alphaLcPeriod"/>
            </a:pPr>
            <a:r>
              <a:rPr lang="en-US" sz="1400" kern="0" dirty="0">
                <a:solidFill>
                  <a:schemeClr val="tx1"/>
                </a:solidFill>
              </a:rPr>
              <a:t>What kind of brand strategy should our client develop and why? </a:t>
            </a:r>
          </a:p>
        </p:txBody>
      </p:sp>
      <p:sp>
        <p:nvSpPr>
          <p:cNvPr id="11" name="TextBox 10">
            <a:extLst>
              <a:ext uri="{FF2B5EF4-FFF2-40B4-BE49-F238E27FC236}">
                <a16:creationId xmlns:a16="http://schemas.microsoft.com/office/drawing/2014/main" id="{61A0B986-0E1E-41B2-AE98-3ACDDAC61F7F}"/>
              </a:ext>
            </a:extLst>
          </p:cNvPr>
          <p:cNvSpPr txBox="1"/>
          <p:nvPr/>
        </p:nvSpPr>
        <p:spPr>
          <a:xfrm>
            <a:off x="457200" y="2276018"/>
            <a:ext cx="328616" cy="914400"/>
          </a:xfrm>
          <a:prstGeom prst="rect">
            <a:avLst/>
          </a:prstGeom>
          <a:noFill/>
        </p:spPr>
        <p:txBody>
          <a:bodyPr wrap="none" lIns="0" tIns="0" rIns="0" bIns="0" rtlCol="0">
            <a:spAutoFit/>
          </a:bodyPr>
          <a:lstStyle/>
          <a:p>
            <a:r>
              <a:rPr lang="en-GB" sz="6600" b="1" kern="0" dirty="0">
                <a:solidFill>
                  <a:schemeClr val="accent3"/>
                </a:solidFill>
                <a:latin typeface="+mj-lt"/>
              </a:rPr>
              <a:t>1</a:t>
            </a:r>
          </a:p>
        </p:txBody>
      </p:sp>
      <p:sp>
        <p:nvSpPr>
          <p:cNvPr id="322" name="TextBox 321">
            <a:extLst>
              <a:ext uri="{FF2B5EF4-FFF2-40B4-BE49-F238E27FC236}">
                <a16:creationId xmlns:a16="http://schemas.microsoft.com/office/drawing/2014/main" id="{E1FE8CB0-F282-448C-9D36-6CAF4925188E}"/>
              </a:ext>
            </a:extLst>
          </p:cNvPr>
          <p:cNvSpPr txBox="1"/>
          <p:nvPr/>
        </p:nvSpPr>
        <p:spPr>
          <a:xfrm>
            <a:off x="457200" y="4973674"/>
            <a:ext cx="434414" cy="1015663"/>
          </a:xfrm>
          <a:prstGeom prst="rect">
            <a:avLst/>
          </a:prstGeom>
          <a:noFill/>
        </p:spPr>
        <p:txBody>
          <a:bodyPr wrap="none" lIns="0" tIns="0" rIns="0" bIns="0" rtlCol="0">
            <a:spAutoFit/>
          </a:bodyPr>
          <a:lstStyle/>
          <a:p>
            <a:r>
              <a:rPr lang="en-GB" sz="6600" b="1" kern="0" dirty="0">
                <a:solidFill>
                  <a:schemeClr val="accent3"/>
                </a:solidFill>
                <a:latin typeface="+mj-lt"/>
              </a:rPr>
              <a:t>3</a:t>
            </a:r>
          </a:p>
        </p:txBody>
      </p:sp>
      <p:sp>
        <p:nvSpPr>
          <p:cNvPr id="162" name="Text Placeholder 4">
            <a:extLst>
              <a:ext uri="{FF2B5EF4-FFF2-40B4-BE49-F238E27FC236}">
                <a16:creationId xmlns:a16="http://schemas.microsoft.com/office/drawing/2014/main" id="{B0F3F526-5A0B-4C9A-8BA5-BE1451D4AC23}"/>
              </a:ext>
            </a:extLst>
          </p:cNvPr>
          <p:cNvSpPr txBox="1">
            <a:spLocks/>
          </p:cNvSpPr>
          <p:nvPr/>
        </p:nvSpPr>
        <p:spPr>
          <a:xfrm>
            <a:off x="457199" y="1358504"/>
            <a:ext cx="8686799" cy="559127"/>
          </a:xfrm>
          <a:prstGeom prst="rect">
            <a:avLst/>
          </a:prstGeom>
        </p:spPr>
        <p:txBody>
          <a:bodyPr wrap="square" lIns="0" tIns="0" rIns="0" bIns="0">
            <a:spAutoFit/>
          </a:bodyPr>
          <a:lstStyle>
            <a:lvl1pPr marL="180000" indent="-180000" algn="l" defTabSz="914400" rtl="0" eaLnBrk="1" latinLnBrk="0" hangingPunct="1">
              <a:spcBef>
                <a:spcPts val="7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1" indent="0">
              <a:spcBef>
                <a:spcPts val="1000"/>
              </a:spcBef>
              <a:buSzPct val="100000"/>
              <a:buNone/>
            </a:pPr>
            <a:endParaRPr lang="en-GB" dirty="0"/>
          </a:p>
          <a:p>
            <a:pPr marL="0" lvl="1" indent="0">
              <a:spcBef>
                <a:spcPts val="1000"/>
              </a:spcBef>
              <a:buSzPct val="100000"/>
              <a:buNone/>
            </a:pPr>
            <a:r>
              <a:rPr lang="en-GB" dirty="0"/>
              <a:t>To help your client understand market dynamic and develop business strategy, please answer below questions:</a:t>
            </a:r>
          </a:p>
        </p:txBody>
      </p:sp>
      <p:sp>
        <p:nvSpPr>
          <p:cNvPr id="4" name="Title 3">
            <a:extLst>
              <a:ext uri="{FF2B5EF4-FFF2-40B4-BE49-F238E27FC236}">
                <a16:creationId xmlns:a16="http://schemas.microsoft.com/office/drawing/2014/main" id="{C40E12BA-5375-428D-A161-44AC1DC58358}"/>
              </a:ext>
            </a:extLst>
          </p:cNvPr>
          <p:cNvSpPr>
            <a:spLocks noGrp="1"/>
          </p:cNvSpPr>
          <p:nvPr>
            <p:ph type="title"/>
          </p:nvPr>
        </p:nvSpPr>
        <p:spPr>
          <a:xfrm>
            <a:off x="457200" y="384048"/>
            <a:ext cx="8686800" cy="758952"/>
          </a:xfrm>
        </p:spPr>
        <p:txBody>
          <a:bodyPr/>
          <a:lstStyle/>
          <a:p>
            <a:r>
              <a:rPr lang="en-GB" dirty="0"/>
              <a:t>CASE QUESTIONs</a:t>
            </a:r>
          </a:p>
        </p:txBody>
      </p:sp>
      <p:cxnSp>
        <p:nvCxnSpPr>
          <p:cNvPr id="166" name="Straight Connector 165">
            <a:extLst>
              <a:ext uri="{FF2B5EF4-FFF2-40B4-BE49-F238E27FC236}">
                <a16:creationId xmlns:a16="http://schemas.microsoft.com/office/drawing/2014/main" id="{D02BB382-E35D-4A6C-A2A5-8C03523DAD10}"/>
              </a:ext>
            </a:extLst>
          </p:cNvPr>
          <p:cNvCxnSpPr>
            <a:cxnSpLocks/>
          </p:cNvCxnSpPr>
          <p:nvPr/>
        </p:nvCxnSpPr>
        <p:spPr>
          <a:xfrm>
            <a:off x="457201" y="3360569"/>
            <a:ext cx="8686797"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1407B09-F94C-498F-99C2-3D561C520E6E}"/>
              </a:ext>
            </a:extLst>
          </p:cNvPr>
          <p:cNvSpPr/>
          <p:nvPr/>
        </p:nvSpPr>
        <p:spPr>
          <a:xfrm>
            <a:off x="1097280" y="3543654"/>
            <a:ext cx="7789268" cy="10156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spcBef>
                <a:spcPts val="700"/>
              </a:spcBef>
            </a:pPr>
            <a:r>
              <a:rPr lang="en-GB" altLang="zh-CN" sz="1600" b="1" kern="0" cap="all" dirty="0">
                <a:solidFill>
                  <a:schemeClr val="tx1"/>
                </a:solidFill>
                <a:latin typeface="+mj-lt"/>
              </a:rPr>
              <a:t>Customer analysis and company positioning</a:t>
            </a:r>
          </a:p>
          <a:p>
            <a:pPr marL="174625" indent="-174625">
              <a:spcBef>
                <a:spcPts val="400"/>
              </a:spcBef>
              <a:buFont typeface="+mj-lt"/>
              <a:buAutoNum type="alphaLcPeriod"/>
            </a:pPr>
            <a:r>
              <a:rPr lang="en-US" altLang="zh-CN" sz="1400" kern="0" dirty="0">
                <a:solidFill>
                  <a:schemeClr val="tx1"/>
                </a:solidFill>
              </a:rPr>
              <a:t>What are the main features for entry-level passenger vehicle customers, especially the young customers? Please describe the customer profiles in a brief and clear way. </a:t>
            </a:r>
          </a:p>
          <a:p>
            <a:pPr marL="174625" indent="-174625">
              <a:spcBef>
                <a:spcPts val="400"/>
              </a:spcBef>
              <a:buFont typeface="+mj-lt"/>
              <a:buAutoNum type="alphaLcPeriod"/>
            </a:pPr>
            <a:r>
              <a:rPr lang="en-US" altLang="zh-CN" sz="1400" kern="0" dirty="0">
                <a:solidFill>
                  <a:schemeClr val="tx1"/>
                </a:solidFill>
              </a:rPr>
              <a:t>Considering its own strengths and weaknesses, how should our client position itself?  </a:t>
            </a:r>
            <a:endParaRPr lang="en-GB" altLang="zh-CN" sz="1400" kern="0" dirty="0">
              <a:solidFill>
                <a:schemeClr val="tx1"/>
              </a:solidFill>
            </a:endParaRPr>
          </a:p>
        </p:txBody>
      </p:sp>
      <p:sp>
        <p:nvSpPr>
          <p:cNvPr id="18" name="TextBox 17">
            <a:extLst>
              <a:ext uri="{FF2B5EF4-FFF2-40B4-BE49-F238E27FC236}">
                <a16:creationId xmlns:a16="http://schemas.microsoft.com/office/drawing/2014/main" id="{D2A44918-959A-4A51-B81B-273DF35739E3}"/>
              </a:ext>
            </a:extLst>
          </p:cNvPr>
          <p:cNvSpPr txBox="1"/>
          <p:nvPr/>
        </p:nvSpPr>
        <p:spPr>
          <a:xfrm>
            <a:off x="457200" y="3598212"/>
            <a:ext cx="434414" cy="1015663"/>
          </a:xfrm>
          <a:prstGeom prst="rect">
            <a:avLst/>
          </a:prstGeom>
          <a:noFill/>
        </p:spPr>
        <p:txBody>
          <a:bodyPr wrap="none" lIns="0" tIns="0" rIns="0" bIns="0" rtlCol="0">
            <a:spAutoFit/>
          </a:bodyPr>
          <a:lstStyle/>
          <a:p>
            <a:r>
              <a:rPr lang="en-GB" sz="6600" b="1" kern="0" dirty="0">
                <a:solidFill>
                  <a:schemeClr val="accent3"/>
                </a:solidFill>
                <a:latin typeface="+mj-lt"/>
              </a:rPr>
              <a:t>2</a:t>
            </a:r>
          </a:p>
        </p:txBody>
      </p:sp>
      <p:cxnSp>
        <p:nvCxnSpPr>
          <p:cNvPr id="19" name="Straight Connector 18">
            <a:extLst>
              <a:ext uri="{FF2B5EF4-FFF2-40B4-BE49-F238E27FC236}">
                <a16:creationId xmlns:a16="http://schemas.microsoft.com/office/drawing/2014/main" id="{5F0A19F9-791F-4AA5-82B8-11248BB1977C}"/>
              </a:ext>
            </a:extLst>
          </p:cNvPr>
          <p:cNvCxnSpPr>
            <a:cxnSpLocks/>
          </p:cNvCxnSpPr>
          <p:nvPr/>
        </p:nvCxnSpPr>
        <p:spPr>
          <a:xfrm>
            <a:off x="457201" y="4726549"/>
            <a:ext cx="8686797"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3581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073911B-1602-4221-8F61-92417AF4A80A}"/>
              </a:ext>
            </a:extLst>
          </p:cNvPr>
          <p:cNvSpPr>
            <a:spLocks noGrp="1"/>
          </p:cNvSpPr>
          <p:nvPr>
            <p:ph type="body" sz="quarter" idx="11"/>
          </p:nvPr>
        </p:nvSpPr>
        <p:spPr>
          <a:xfrm>
            <a:off x="457199" y="4454244"/>
            <a:ext cx="8686800" cy="448136"/>
          </a:xfrm>
        </p:spPr>
        <p:txBody>
          <a:bodyPr/>
          <a:lstStyle/>
          <a:p>
            <a:r>
              <a:rPr lang="en-US" altLang="zh-CN" dirty="0"/>
              <a:t>Info and TIPs</a:t>
            </a:r>
            <a:endParaRPr lang="en-GB" dirty="0"/>
          </a:p>
        </p:txBody>
      </p:sp>
      <p:sp>
        <p:nvSpPr>
          <p:cNvPr id="7" name="Text Placeholder 6">
            <a:extLst>
              <a:ext uri="{FF2B5EF4-FFF2-40B4-BE49-F238E27FC236}">
                <a16:creationId xmlns:a16="http://schemas.microsoft.com/office/drawing/2014/main" id="{A27FC71B-F24E-4CF0-8FE4-5BB63D66917A}"/>
              </a:ext>
            </a:extLst>
          </p:cNvPr>
          <p:cNvSpPr>
            <a:spLocks noGrp="1"/>
          </p:cNvSpPr>
          <p:nvPr>
            <p:ph type="body" sz="quarter" idx="12"/>
          </p:nvPr>
        </p:nvSpPr>
        <p:spPr/>
        <p:txBody>
          <a:bodyPr/>
          <a:lstStyle/>
          <a:p>
            <a:r>
              <a:rPr lang="en-US" dirty="0"/>
              <a:t>2</a:t>
            </a:r>
            <a:endParaRPr lang="en-GB" dirty="0"/>
          </a:p>
        </p:txBody>
      </p:sp>
    </p:spTree>
    <p:extLst>
      <p:ext uri="{BB962C8B-B14F-4D97-AF65-F5344CB8AC3E}">
        <p14:creationId xmlns:p14="http://schemas.microsoft.com/office/powerpoint/2010/main" val="12825268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EF41C3-431F-4B1F-BD2F-2C502A115DC9}"/>
              </a:ext>
            </a:extLst>
          </p:cNvPr>
          <p:cNvGraphicFramePr>
            <a:graphicFrameLocks noChangeAspect="1"/>
          </p:cNvGraphicFramePr>
          <p:nvPr>
            <p:custDataLst>
              <p:tags r:id="rId2"/>
            </p:custDataLst>
            <p:extLst>
              <p:ext uri="{D42A27DB-BD31-4B8C-83A1-F6EECF244321}">
                <p14:modId xmlns:p14="http://schemas.microsoft.com/office/powerpoint/2010/main" val="1330036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0" name="think-cell Slide" r:id="rId5" imgW="530" imgH="531" progId="TCLayout.ActiveDocument.1">
                  <p:embed/>
                </p:oleObj>
              </mc:Choice>
              <mc:Fallback>
                <p:oleObj name="think-cell Slide" r:id="rId5" imgW="530" imgH="531" progId="TCLayout.ActiveDocument.1">
                  <p:embed/>
                  <p:pic>
                    <p:nvPicPr>
                      <p:cNvPr id="5" name="Object 4" hidden="1">
                        <a:extLst>
                          <a:ext uri="{FF2B5EF4-FFF2-40B4-BE49-F238E27FC236}">
                            <a16:creationId xmlns:a16="http://schemas.microsoft.com/office/drawing/2014/main" id="{81EF41C3-431F-4B1F-BD2F-2C502A115D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Graphical user interface, text, application, email&#10;&#10;Description automatically generated">
            <a:extLst>
              <a:ext uri="{FF2B5EF4-FFF2-40B4-BE49-F238E27FC236}">
                <a16:creationId xmlns:a16="http://schemas.microsoft.com/office/drawing/2014/main" id="{56E5FCDF-2740-491C-A753-758AD7B190E6}"/>
              </a:ext>
            </a:extLst>
          </p:cNvPr>
          <p:cNvPicPr>
            <a:picLocks noChangeAspect="1"/>
          </p:cNvPicPr>
          <p:nvPr/>
        </p:nvPicPr>
        <p:blipFill>
          <a:blip r:embed="rId7"/>
          <a:stretch>
            <a:fillRect/>
          </a:stretch>
        </p:blipFill>
        <p:spPr>
          <a:xfrm>
            <a:off x="785512" y="2446738"/>
            <a:ext cx="2447241" cy="3140146"/>
          </a:xfrm>
          <a:prstGeom prst="rect">
            <a:avLst/>
          </a:prstGeom>
        </p:spPr>
      </p:pic>
      <p:sp>
        <p:nvSpPr>
          <p:cNvPr id="3" name="Text Placeholder 2">
            <a:extLst>
              <a:ext uri="{FF2B5EF4-FFF2-40B4-BE49-F238E27FC236}">
                <a16:creationId xmlns:a16="http://schemas.microsoft.com/office/drawing/2014/main" id="{DFA03224-2E57-4A6A-8AD5-9FAA7AEDCEF0}"/>
              </a:ext>
            </a:extLst>
          </p:cNvPr>
          <p:cNvSpPr>
            <a:spLocks noGrp="1"/>
          </p:cNvSpPr>
          <p:nvPr>
            <p:ph type="body" idx="10"/>
          </p:nvPr>
        </p:nvSpPr>
        <p:spPr>
          <a:xfrm>
            <a:off x="457200" y="1399032"/>
            <a:ext cx="6400800" cy="429768"/>
          </a:xfrm>
        </p:spPr>
        <p:txBody>
          <a:bodyPr/>
          <a:lstStyle/>
          <a:p>
            <a:r>
              <a:rPr lang="en-US" dirty="0"/>
              <a:t>When and how to submit it?</a:t>
            </a:r>
          </a:p>
        </p:txBody>
      </p:sp>
      <p:pic>
        <p:nvPicPr>
          <p:cNvPr id="9" name="Picture Placeholder 8">
            <a:extLst>
              <a:ext uri="{FF2B5EF4-FFF2-40B4-BE49-F238E27FC236}">
                <a16:creationId xmlns:a16="http://schemas.microsoft.com/office/drawing/2014/main" id="{AA1E0C3B-C8F5-4839-B39D-BCF9173D9C42}"/>
              </a:ext>
            </a:extLst>
          </p:cNvPr>
          <p:cNvPicPr>
            <a:picLocks noGrp="1" noChangeAspect="1"/>
          </p:cNvPicPr>
          <p:nvPr>
            <p:ph type="pic" sz="quarter" idx="4294967295"/>
          </p:nvPr>
        </p:nvPicPr>
        <p:blipFill>
          <a:blip r:embed="rId8"/>
          <a:stretch>
            <a:fillRect/>
          </a:stretch>
        </p:blipFill>
        <p:spPr bwMode="gray">
          <a:xfrm>
            <a:off x="5289881" y="2985379"/>
            <a:ext cx="4311319" cy="3520911"/>
          </a:xfrm>
        </p:spPr>
      </p:pic>
      <p:sp>
        <p:nvSpPr>
          <p:cNvPr id="11" name="Title 10">
            <a:extLst>
              <a:ext uri="{FF2B5EF4-FFF2-40B4-BE49-F238E27FC236}">
                <a16:creationId xmlns:a16="http://schemas.microsoft.com/office/drawing/2014/main" id="{F4B5153B-7912-4BA6-BDB5-2C111CB3E0D0}"/>
              </a:ext>
            </a:extLst>
          </p:cNvPr>
          <p:cNvSpPr>
            <a:spLocks noGrp="1"/>
          </p:cNvSpPr>
          <p:nvPr>
            <p:ph type="title"/>
          </p:nvPr>
        </p:nvSpPr>
        <p:spPr/>
        <p:txBody>
          <a:bodyPr vert="horz"/>
          <a:lstStyle/>
          <a:p>
            <a:r>
              <a:rPr lang="en-GB" b="1" dirty="0"/>
              <a:t>FOR THE 1</a:t>
            </a:r>
            <a:r>
              <a:rPr lang="en-GB" b="1" baseline="30000" dirty="0"/>
              <a:t>ST </a:t>
            </a:r>
            <a:r>
              <a:rPr lang="en-GB" b="1" dirty="0"/>
              <a:t>ROUND SUBMISSION…</a:t>
            </a:r>
            <a:endParaRPr lang="en-US" dirty="0"/>
          </a:p>
        </p:txBody>
      </p:sp>
      <p:sp>
        <p:nvSpPr>
          <p:cNvPr id="6" name="Footnote">
            <a:extLst>
              <a:ext uri="{FF2B5EF4-FFF2-40B4-BE49-F238E27FC236}">
                <a16:creationId xmlns:a16="http://schemas.microsoft.com/office/drawing/2014/main" id="{D773BAC5-258B-4C18-9378-AC659376A95E}"/>
              </a:ext>
            </a:extLst>
          </p:cNvPr>
          <p:cNvSpPr/>
          <p:nvPr/>
        </p:nvSpPr>
        <p:spPr>
          <a:xfrm>
            <a:off x="457200" y="6154579"/>
            <a:ext cx="8686800" cy="246221"/>
          </a:xfrm>
          <a:prstGeom prst="rect">
            <a:avLst/>
          </a:prstGeom>
        </p:spPr>
        <p:txBody>
          <a:bodyPr vert="horz" lIns="0" tIns="0" rIns="0" bIns="0" rtlCol="0" anchor="b" anchorCtr="0">
            <a:spAutoFit/>
          </a:bodyPr>
          <a:lstStyle/>
          <a:p>
            <a:r>
              <a:rPr lang="en-US" sz="800" kern="0" dirty="0"/>
              <a:t>1. Beijing Time Zone; Late submissions will not be accepted</a:t>
            </a:r>
          </a:p>
          <a:p>
            <a:r>
              <a:rPr lang="en-US" sz="800" kern="0" dirty="0"/>
              <a:t>2. Only one submission is required for each team.</a:t>
            </a:r>
            <a:endParaRPr lang="en-GB" sz="800" kern="0" dirty="0" err="1"/>
          </a:p>
        </p:txBody>
      </p:sp>
      <p:sp>
        <p:nvSpPr>
          <p:cNvPr id="8" name="Content Placeholder 7">
            <a:extLst>
              <a:ext uri="{FF2B5EF4-FFF2-40B4-BE49-F238E27FC236}">
                <a16:creationId xmlns:a16="http://schemas.microsoft.com/office/drawing/2014/main" id="{415B4F21-6F6B-4811-AFB8-23C648000200}"/>
              </a:ext>
            </a:extLst>
          </p:cNvPr>
          <p:cNvSpPr>
            <a:spLocks noGrp="1"/>
          </p:cNvSpPr>
          <p:nvPr>
            <p:ph sz="half" idx="11"/>
          </p:nvPr>
        </p:nvSpPr>
        <p:spPr>
          <a:xfrm>
            <a:off x="457200" y="1883664"/>
            <a:ext cx="6235002" cy="1453425"/>
          </a:xfrm>
        </p:spPr>
        <p:txBody>
          <a:bodyPr/>
          <a:lstStyle/>
          <a:p>
            <a:pPr>
              <a:buSzPct val="100000"/>
            </a:pPr>
            <a:r>
              <a:rPr lang="en-US" dirty="0"/>
              <a:t>Please submit your document by </a:t>
            </a:r>
            <a:r>
              <a:rPr lang="en-US" b="1" dirty="0">
                <a:solidFill>
                  <a:srgbClr val="FF0000"/>
                </a:solidFill>
              </a:rPr>
              <a:t>11:59pm, April 17</a:t>
            </a:r>
            <a:r>
              <a:rPr lang="en-US" altLang="zh-CN" b="1" baseline="30000" dirty="0">
                <a:solidFill>
                  <a:srgbClr val="FF0000"/>
                </a:solidFill>
              </a:rPr>
              <a:t>th</a:t>
            </a:r>
            <a:r>
              <a:rPr lang="en-US" b="1" dirty="0">
                <a:solidFill>
                  <a:srgbClr val="FF0000"/>
                </a:solidFill>
              </a:rPr>
              <a:t>, 2022</a:t>
            </a:r>
            <a:r>
              <a:rPr lang="en-US" b="1" baseline="30000" dirty="0">
                <a:solidFill>
                  <a:srgbClr val="FF0000"/>
                </a:solidFill>
              </a:rPr>
              <a:t>1</a:t>
            </a:r>
            <a:r>
              <a:rPr lang="en-US" b="1" dirty="0">
                <a:solidFill>
                  <a:srgbClr val="FF0000"/>
                </a:solidFill>
              </a:rPr>
              <a:t> </a:t>
            </a:r>
            <a:r>
              <a:rPr lang="en-US" dirty="0"/>
              <a:t>via our case submission portal: </a:t>
            </a:r>
            <a:r>
              <a:rPr lang="en-US" dirty="0">
                <a:hlinkClick r:id="rId9"/>
              </a:rPr>
              <a:t>https://oliverwymangroup.wufoo.com/forms/p38d9zl0tcnp17/</a:t>
            </a:r>
            <a:endParaRPr lang="en-US" dirty="0"/>
          </a:p>
          <a:p>
            <a:endParaRPr lang="en-GB" dirty="0"/>
          </a:p>
        </p:txBody>
      </p:sp>
      <p:sp>
        <p:nvSpPr>
          <p:cNvPr id="13" name="Freeform 502">
            <a:extLst>
              <a:ext uri="{FF2B5EF4-FFF2-40B4-BE49-F238E27FC236}">
                <a16:creationId xmlns:a16="http://schemas.microsoft.com/office/drawing/2014/main" id="{FBDB8FCC-14D8-4057-AF9A-0414CB7BA558}"/>
              </a:ext>
            </a:extLst>
          </p:cNvPr>
          <p:cNvSpPr>
            <a:spLocks noEditPoints="1"/>
          </p:cNvSpPr>
          <p:nvPr/>
        </p:nvSpPr>
        <p:spPr bwMode="auto">
          <a:xfrm>
            <a:off x="628022" y="5218716"/>
            <a:ext cx="934497" cy="368168"/>
          </a:xfrm>
          <a:custGeom>
            <a:avLst/>
            <a:gdLst>
              <a:gd name="T0" fmla="*/ 685 w 1319"/>
              <a:gd name="T1" fmla="*/ 39 h 237"/>
              <a:gd name="T2" fmla="*/ 684 w 1319"/>
              <a:gd name="T3" fmla="*/ 48 h 237"/>
              <a:gd name="T4" fmla="*/ 686 w 1319"/>
              <a:gd name="T5" fmla="*/ 40 h 237"/>
              <a:gd name="T6" fmla="*/ 689 w 1319"/>
              <a:gd name="T7" fmla="*/ 38 h 237"/>
              <a:gd name="T8" fmla="*/ 1030 w 1319"/>
              <a:gd name="T9" fmla="*/ 43 h 237"/>
              <a:gd name="T10" fmla="*/ 1319 w 1319"/>
              <a:gd name="T11" fmla="*/ 126 h 237"/>
              <a:gd name="T12" fmla="*/ 1278 w 1319"/>
              <a:gd name="T13" fmla="*/ 85 h 237"/>
              <a:gd name="T14" fmla="*/ 1098 w 1319"/>
              <a:gd name="T15" fmla="*/ 53 h 237"/>
              <a:gd name="T16" fmla="*/ 927 w 1319"/>
              <a:gd name="T17" fmla="*/ 38 h 237"/>
              <a:gd name="T18" fmla="*/ 835 w 1319"/>
              <a:gd name="T19" fmla="*/ 36 h 237"/>
              <a:gd name="T20" fmla="*/ 809 w 1319"/>
              <a:gd name="T21" fmla="*/ 36 h 237"/>
              <a:gd name="T22" fmla="*/ 927 w 1319"/>
              <a:gd name="T23" fmla="*/ 39 h 237"/>
              <a:gd name="T24" fmla="*/ 906 w 1319"/>
              <a:gd name="T25" fmla="*/ 40 h 237"/>
              <a:gd name="T26" fmla="*/ 954 w 1319"/>
              <a:gd name="T27" fmla="*/ 43 h 237"/>
              <a:gd name="T28" fmla="*/ 718 w 1319"/>
              <a:gd name="T29" fmla="*/ 40 h 237"/>
              <a:gd name="T30" fmla="*/ 1084 w 1319"/>
              <a:gd name="T31" fmla="*/ 57 h 237"/>
              <a:gd name="T32" fmla="*/ 954 w 1319"/>
              <a:gd name="T33" fmla="*/ 48 h 237"/>
              <a:gd name="T34" fmla="*/ 688 w 1319"/>
              <a:gd name="T35" fmla="*/ 45 h 237"/>
              <a:gd name="T36" fmla="*/ 692 w 1319"/>
              <a:gd name="T37" fmla="*/ 45 h 237"/>
              <a:gd name="T38" fmla="*/ 941 w 1319"/>
              <a:gd name="T39" fmla="*/ 49 h 237"/>
              <a:gd name="T40" fmla="*/ 1142 w 1319"/>
              <a:gd name="T41" fmla="*/ 69 h 237"/>
              <a:gd name="T42" fmla="*/ 1291 w 1319"/>
              <a:gd name="T43" fmla="*/ 105 h 237"/>
              <a:gd name="T44" fmla="*/ 1300 w 1319"/>
              <a:gd name="T45" fmla="*/ 134 h 237"/>
              <a:gd name="T46" fmla="*/ 1171 w 1319"/>
              <a:gd name="T47" fmla="*/ 185 h 237"/>
              <a:gd name="T48" fmla="*/ 765 w 1319"/>
              <a:gd name="T49" fmla="*/ 221 h 237"/>
              <a:gd name="T50" fmla="*/ 244 w 1319"/>
              <a:gd name="T51" fmla="*/ 206 h 237"/>
              <a:gd name="T52" fmla="*/ 14 w 1319"/>
              <a:gd name="T53" fmla="*/ 149 h 237"/>
              <a:gd name="T54" fmla="*/ 350 w 1319"/>
              <a:gd name="T55" fmla="*/ 42 h 237"/>
              <a:gd name="T56" fmla="*/ 774 w 1319"/>
              <a:gd name="T57" fmla="*/ 16 h 237"/>
              <a:gd name="T58" fmla="*/ 1123 w 1319"/>
              <a:gd name="T59" fmla="*/ 36 h 237"/>
              <a:gd name="T60" fmla="*/ 1130 w 1319"/>
              <a:gd name="T61" fmla="*/ 38 h 237"/>
              <a:gd name="T62" fmla="*/ 1137 w 1319"/>
              <a:gd name="T63" fmla="*/ 38 h 237"/>
              <a:gd name="T64" fmla="*/ 1144 w 1319"/>
              <a:gd name="T65" fmla="*/ 33 h 237"/>
              <a:gd name="T66" fmla="*/ 1143 w 1319"/>
              <a:gd name="T67" fmla="*/ 25 h 237"/>
              <a:gd name="T68" fmla="*/ 1137 w 1319"/>
              <a:gd name="T69" fmla="*/ 20 h 237"/>
              <a:gd name="T70" fmla="*/ 1131 w 1319"/>
              <a:gd name="T71" fmla="*/ 19 h 237"/>
              <a:gd name="T72" fmla="*/ 1122 w 1319"/>
              <a:gd name="T73" fmla="*/ 19 h 237"/>
              <a:gd name="T74" fmla="*/ 920 w 1319"/>
              <a:gd name="T75" fmla="*/ 2 h 237"/>
              <a:gd name="T76" fmla="*/ 750 w 1319"/>
              <a:gd name="T77" fmla="*/ 1 h 237"/>
              <a:gd name="T78" fmla="*/ 385 w 1319"/>
              <a:gd name="T79" fmla="*/ 23 h 237"/>
              <a:gd name="T80" fmla="*/ 65 w 1319"/>
              <a:gd name="T81" fmla="*/ 94 h 237"/>
              <a:gd name="T82" fmla="*/ 7 w 1319"/>
              <a:gd name="T83" fmla="*/ 168 h 237"/>
              <a:gd name="T84" fmla="*/ 158 w 1319"/>
              <a:gd name="T85" fmla="*/ 212 h 237"/>
              <a:gd name="T86" fmla="*/ 992 w 1319"/>
              <a:gd name="T87" fmla="*/ 223 h 237"/>
              <a:gd name="T88" fmla="*/ 1284 w 1319"/>
              <a:gd name="T89" fmla="*/ 161 h 237"/>
              <a:gd name="T90" fmla="*/ 1319 w 1319"/>
              <a:gd name="T91" fmla="*/ 126 h 237"/>
              <a:gd name="T92" fmla="*/ 985 w 1319"/>
              <a:gd name="T93" fmla="*/ 52 h 237"/>
              <a:gd name="T94" fmla="*/ 688 w 1319"/>
              <a:gd name="T95" fmla="*/ 44 h 237"/>
              <a:gd name="T96" fmla="*/ 1041 w 1319"/>
              <a:gd name="T97" fmla="*/ 46 h 237"/>
              <a:gd name="T98" fmla="*/ 688 w 1319"/>
              <a:gd name="T99" fmla="*/ 45 h 237"/>
              <a:gd name="T100" fmla="*/ 1270 w 1319"/>
              <a:gd name="T101" fmla="*/ 96 h 237"/>
              <a:gd name="T102" fmla="*/ 688 w 1319"/>
              <a:gd name="T103" fmla="*/ 46 h 237"/>
              <a:gd name="T104" fmla="*/ 769 w 1319"/>
              <a:gd name="T105" fmla="*/ 37 h 237"/>
              <a:gd name="T106" fmla="*/ 926 w 1319"/>
              <a:gd name="T107" fmla="*/ 46 h 237"/>
              <a:gd name="T108" fmla="*/ 986 w 1319"/>
              <a:gd name="T109" fmla="*/ 52 h 237"/>
              <a:gd name="T110" fmla="*/ 687 w 1319"/>
              <a:gd name="T111" fmla="*/ 41 h 237"/>
              <a:gd name="T112" fmla="*/ 689 w 1319"/>
              <a:gd name="T113" fmla="*/ 38 h 237"/>
              <a:gd name="T114" fmla="*/ 689 w 1319"/>
              <a:gd name="T115" fmla="*/ 45 h 237"/>
              <a:gd name="T116" fmla="*/ 688 w 1319"/>
              <a:gd name="T117" fmla="*/ 41 h 237"/>
              <a:gd name="T118" fmla="*/ 689 w 1319"/>
              <a:gd name="T119" fmla="*/ 4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19" h="237">
                <a:moveTo>
                  <a:pt x="686" y="40"/>
                </a:moveTo>
                <a:cubicBezTo>
                  <a:pt x="686" y="40"/>
                  <a:pt x="686" y="40"/>
                  <a:pt x="686" y="40"/>
                </a:cubicBezTo>
                <a:cubicBezTo>
                  <a:pt x="686" y="40"/>
                  <a:pt x="685" y="40"/>
                  <a:pt x="684" y="40"/>
                </a:cubicBezTo>
                <a:cubicBezTo>
                  <a:pt x="684" y="40"/>
                  <a:pt x="684" y="40"/>
                  <a:pt x="684" y="40"/>
                </a:cubicBezTo>
                <a:cubicBezTo>
                  <a:pt x="684" y="40"/>
                  <a:pt x="684" y="40"/>
                  <a:pt x="683" y="40"/>
                </a:cubicBezTo>
                <a:cubicBezTo>
                  <a:pt x="684" y="39"/>
                  <a:pt x="685" y="40"/>
                  <a:pt x="685" y="39"/>
                </a:cubicBezTo>
                <a:cubicBezTo>
                  <a:pt x="685" y="39"/>
                  <a:pt x="685" y="39"/>
                  <a:pt x="685" y="39"/>
                </a:cubicBezTo>
                <a:cubicBezTo>
                  <a:pt x="686" y="39"/>
                  <a:pt x="687" y="39"/>
                  <a:pt x="688" y="39"/>
                </a:cubicBezTo>
                <a:cubicBezTo>
                  <a:pt x="687" y="40"/>
                  <a:pt x="686" y="39"/>
                  <a:pt x="686" y="40"/>
                </a:cubicBezTo>
                <a:close/>
                <a:moveTo>
                  <a:pt x="684" y="48"/>
                </a:moveTo>
                <a:cubicBezTo>
                  <a:pt x="685" y="48"/>
                  <a:pt x="685" y="48"/>
                  <a:pt x="685" y="48"/>
                </a:cubicBezTo>
                <a:cubicBezTo>
                  <a:pt x="685" y="48"/>
                  <a:pt x="684" y="48"/>
                  <a:pt x="684" y="48"/>
                </a:cubicBezTo>
                <a:close/>
                <a:moveTo>
                  <a:pt x="685" y="46"/>
                </a:moveTo>
                <a:cubicBezTo>
                  <a:pt x="685" y="46"/>
                  <a:pt x="685" y="46"/>
                  <a:pt x="685" y="46"/>
                </a:cubicBezTo>
                <a:cubicBezTo>
                  <a:pt x="685" y="46"/>
                  <a:pt x="685" y="46"/>
                  <a:pt x="685" y="46"/>
                </a:cubicBezTo>
                <a:close/>
                <a:moveTo>
                  <a:pt x="686" y="40"/>
                </a:moveTo>
                <a:cubicBezTo>
                  <a:pt x="686" y="40"/>
                  <a:pt x="687" y="40"/>
                  <a:pt x="687" y="40"/>
                </a:cubicBezTo>
                <a:cubicBezTo>
                  <a:pt x="686" y="40"/>
                  <a:pt x="686" y="40"/>
                  <a:pt x="686" y="40"/>
                </a:cubicBezTo>
                <a:cubicBezTo>
                  <a:pt x="686" y="40"/>
                  <a:pt x="686" y="40"/>
                  <a:pt x="686" y="40"/>
                </a:cubicBezTo>
                <a:close/>
                <a:moveTo>
                  <a:pt x="686" y="43"/>
                </a:moveTo>
                <a:cubicBezTo>
                  <a:pt x="686" y="44"/>
                  <a:pt x="686" y="43"/>
                  <a:pt x="686" y="43"/>
                </a:cubicBezTo>
                <a:close/>
                <a:moveTo>
                  <a:pt x="689" y="38"/>
                </a:moveTo>
                <a:cubicBezTo>
                  <a:pt x="688" y="38"/>
                  <a:pt x="688" y="38"/>
                  <a:pt x="688" y="39"/>
                </a:cubicBezTo>
                <a:cubicBezTo>
                  <a:pt x="688" y="39"/>
                  <a:pt x="689" y="39"/>
                  <a:pt x="689" y="38"/>
                </a:cubicBezTo>
                <a:close/>
                <a:moveTo>
                  <a:pt x="685" y="46"/>
                </a:moveTo>
                <a:cubicBezTo>
                  <a:pt x="685" y="46"/>
                  <a:pt x="685" y="46"/>
                  <a:pt x="685" y="46"/>
                </a:cubicBezTo>
                <a:close/>
                <a:moveTo>
                  <a:pt x="685" y="45"/>
                </a:moveTo>
                <a:cubicBezTo>
                  <a:pt x="685" y="45"/>
                  <a:pt x="685" y="45"/>
                  <a:pt x="685" y="45"/>
                </a:cubicBezTo>
                <a:cubicBezTo>
                  <a:pt x="685" y="45"/>
                  <a:pt x="685" y="45"/>
                  <a:pt x="685" y="45"/>
                </a:cubicBezTo>
                <a:close/>
                <a:moveTo>
                  <a:pt x="1030" y="43"/>
                </a:moveTo>
                <a:cubicBezTo>
                  <a:pt x="1023" y="42"/>
                  <a:pt x="1012" y="41"/>
                  <a:pt x="1009" y="41"/>
                </a:cubicBezTo>
                <a:cubicBezTo>
                  <a:pt x="1019" y="42"/>
                  <a:pt x="1026" y="43"/>
                  <a:pt x="1030" y="43"/>
                </a:cubicBezTo>
                <a:close/>
                <a:moveTo>
                  <a:pt x="1122" y="54"/>
                </a:moveTo>
                <a:cubicBezTo>
                  <a:pt x="1109" y="53"/>
                  <a:pt x="1109" y="53"/>
                  <a:pt x="1109" y="53"/>
                </a:cubicBezTo>
                <a:cubicBezTo>
                  <a:pt x="1108" y="53"/>
                  <a:pt x="1118" y="54"/>
                  <a:pt x="1122" y="54"/>
                </a:cubicBezTo>
                <a:close/>
                <a:moveTo>
                  <a:pt x="1319" y="126"/>
                </a:moveTo>
                <a:cubicBezTo>
                  <a:pt x="1319" y="125"/>
                  <a:pt x="1319" y="125"/>
                  <a:pt x="1319" y="125"/>
                </a:cubicBezTo>
                <a:cubicBezTo>
                  <a:pt x="1319" y="124"/>
                  <a:pt x="1319" y="124"/>
                  <a:pt x="1319" y="124"/>
                </a:cubicBezTo>
                <a:cubicBezTo>
                  <a:pt x="1319" y="118"/>
                  <a:pt x="1316" y="112"/>
                  <a:pt x="1313" y="108"/>
                </a:cubicBezTo>
                <a:cubicBezTo>
                  <a:pt x="1309" y="103"/>
                  <a:pt x="1305" y="100"/>
                  <a:pt x="1301" y="97"/>
                </a:cubicBezTo>
                <a:cubicBezTo>
                  <a:pt x="1293" y="91"/>
                  <a:pt x="1285" y="88"/>
                  <a:pt x="1279" y="86"/>
                </a:cubicBezTo>
                <a:cubicBezTo>
                  <a:pt x="1280" y="86"/>
                  <a:pt x="1280" y="86"/>
                  <a:pt x="1278" y="85"/>
                </a:cubicBezTo>
                <a:cubicBezTo>
                  <a:pt x="1272" y="83"/>
                  <a:pt x="1269" y="82"/>
                  <a:pt x="1262" y="80"/>
                </a:cubicBezTo>
                <a:cubicBezTo>
                  <a:pt x="1239" y="73"/>
                  <a:pt x="1219" y="70"/>
                  <a:pt x="1199" y="67"/>
                </a:cubicBezTo>
                <a:cubicBezTo>
                  <a:pt x="1180" y="64"/>
                  <a:pt x="1162" y="61"/>
                  <a:pt x="1142" y="58"/>
                </a:cubicBezTo>
                <a:cubicBezTo>
                  <a:pt x="1137" y="58"/>
                  <a:pt x="1123" y="55"/>
                  <a:pt x="1119" y="55"/>
                </a:cubicBezTo>
                <a:cubicBezTo>
                  <a:pt x="1126" y="56"/>
                  <a:pt x="1135" y="57"/>
                  <a:pt x="1134" y="57"/>
                </a:cubicBezTo>
                <a:cubicBezTo>
                  <a:pt x="1122" y="56"/>
                  <a:pt x="1106" y="54"/>
                  <a:pt x="1098" y="53"/>
                </a:cubicBezTo>
                <a:cubicBezTo>
                  <a:pt x="1083" y="51"/>
                  <a:pt x="1076" y="50"/>
                  <a:pt x="1062" y="49"/>
                </a:cubicBezTo>
                <a:cubicBezTo>
                  <a:pt x="1059" y="48"/>
                  <a:pt x="1065" y="49"/>
                  <a:pt x="1058" y="48"/>
                </a:cubicBezTo>
                <a:cubicBezTo>
                  <a:pt x="1037" y="46"/>
                  <a:pt x="1027" y="45"/>
                  <a:pt x="1008" y="43"/>
                </a:cubicBezTo>
                <a:cubicBezTo>
                  <a:pt x="1003" y="43"/>
                  <a:pt x="980" y="41"/>
                  <a:pt x="974" y="41"/>
                </a:cubicBezTo>
                <a:cubicBezTo>
                  <a:pt x="968" y="40"/>
                  <a:pt x="980" y="41"/>
                  <a:pt x="975" y="41"/>
                </a:cubicBezTo>
                <a:cubicBezTo>
                  <a:pt x="927" y="38"/>
                  <a:pt x="927" y="38"/>
                  <a:pt x="927" y="38"/>
                </a:cubicBezTo>
                <a:cubicBezTo>
                  <a:pt x="923" y="38"/>
                  <a:pt x="920" y="38"/>
                  <a:pt x="914" y="38"/>
                </a:cubicBezTo>
                <a:cubicBezTo>
                  <a:pt x="909" y="37"/>
                  <a:pt x="915" y="37"/>
                  <a:pt x="908" y="37"/>
                </a:cubicBezTo>
                <a:cubicBezTo>
                  <a:pt x="902" y="37"/>
                  <a:pt x="913" y="38"/>
                  <a:pt x="912" y="38"/>
                </a:cubicBezTo>
                <a:cubicBezTo>
                  <a:pt x="903" y="37"/>
                  <a:pt x="905" y="38"/>
                  <a:pt x="900" y="38"/>
                </a:cubicBezTo>
                <a:cubicBezTo>
                  <a:pt x="888" y="37"/>
                  <a:pt x="880" y="37"/>
                  <a:pt x="869" y="37"/>
                </a:cubicBezTo>
                <a:cubicBezTo>
                  <a:pt x="835" y="36"/>
                  <a:pt x="835" y="36"/>
                  <a:pt x="835" y="36"/>
                </a:cubicBezTo>
                <a:cubicBezTo>
                  <a:pt x="811" y="36"/>
                  <a:pt x="811" y="36"/>
                  <a:pt x="811" y="36"/>
                </a:cubicBezTo>
                <a:cubicBezTo>
                  <a:pt x="786" y="36"/>
                  <a:pt x="786" y="36"/>
                  <a:pt x="786" y="36"/>
                </a:cubicBezTo>
                <a:cubicBezTo>
                  <a:pt x="781" y="36"/>
                  <a:pt x="790" y="36"/>
                  <a:pt x="782" y="36"/>
                </a:cubicBezTo>
                <a:cubicBezTo>
                  <a:pt x="749" y="36"/>
                  <a:pt x="716" y="37"/>
                  <a:pt x="692" y="38"/>
                </a:cubicBezTo>
                <a:cubicBezTo>
                  <a:pt x="729" y="36"/>
                  <a:pt x="757" y="36"/>
                  <a:pt x="790" y="36"/>
                </a:cubicBezTo>
                <a:cubicBezTo>
                  <a:pt x="795" y="36"/>
                  <a:pt x="804" y="36"/>
                  <a:pt x="809" y="36"/>
                </a:cubicBezTo>
                <a:cubicBezTo>
                  <a:pt x="811" y="36"/>
                  <a:pt x="804" y="36"/>
                  <a:pt x="811" y="36"/>
                </a:cubicBezTo>
                <a:cubicBezTo>
                  <a:pt x="818" y="36"/>
                  <a:pt x="818" y="36"/>
                  <a:pt x="818" y="36"/>
                </a:cubicBezTo>
                <a:cubicBezTo>
                  <a:pt x="814" y="36"/>
                  <a:pt x="821" y="36"/>
                  <a:pt x="823" y="37"/>
                </a:cubicBezTo>
                <a:cubicBezTo>
                  <a:pt x="851" y="37"/>
                  <a:pt x="873" y="37"/>
                  <a:pt x="898" y="38"/>
                </a:cubicBezTo>
                <a:cubicBezTo>
                  <a:pt x="902" y="38"/>
                  <a:pt x="894" y="38"/>
                  <a:pt x="900" y="38"/>
                </a:cubicBezTo>
                <a:cubicBezTo>
                  <a:pt x="927" y="39"/>
                  <a:pt x="927" y="39"/>
                  <a:pt x="927" y="39"/>
                </a:cubicBezTo>
                <a:cubicBezTo>
                  <a:pt x="930" y="40"/>
                  <a:pt x="937" y="40"/>
                  <a:pt x="933" y="40"/>
                </a:cubicBezTo>
                <a:cubicBezTo>
                  <a:pt x="901" y="38"/>
                  <a:pt x="856" y="37"/>
                  <a:pt x="817" y="37"/>
                </a:cubicBezTo>
                <a:cubicBezTo>
                  <a:pt x="806" y="37"/>
                  <a:pt x="793" y="37"/>
                  <a:pt x="787" y="37"/>
                </a:cubicBezTo>
                <a:cubicBezTo>
                  <a:pt x="804" y="37"/>
                  <a:pt x="818" y="37"/>
                  <a:pt x="833" y="38"/>
                </a:cubicBezTo>
                <a:cubicBezTo>
                  <a:pt x="853" y="38"/>
                  <a:pt x="874" y="38"/>
                  <a:pt x="893" y="39"/>
                </a:cubicBezTo>
                <a:cubicBezTo>
                  <a:pt x="906" y="40"/>
                  <a:pt x="906" y="40"/>
                  <a:pt x="906" y="40"/>
                </a:cubicBezTo>
                <a:cubicBezTo>
                  <a:pt x="920" y="40"/>
                  <a:pt x="920" y="40"/>
                  <a:pt x="920" y="40"/>
                </a:cubicBezTo>
                <a:cubicBezTo>
                  <a:pt x="929" y="41"/>
                  <a:pt x="929" y="41"/>
                  <a:pt x="929" y="41"/>
                </a:cubicBezTo>
                <a:cubicBezTo>
                  <a:pt x="937" y="41"/>
                  <a:pt x="944" y="41"/>
                  <a:pt x="953" y="42"/>
                </a:cubicBezTo>
                <a:cubicBezTo>
                  <a:pt x="968" y="43"/>
                  <a:pt x="983" y="44"/>
                  <a:pt x="999" y="46"/>
                </a:cubicBezTo>
                <a:cubicBezTo>
                  <a:pt x="1002" y="46"/>
                  <a:pt x="1001" y="46"/>
                  <a:pt x="997" y="46"/>
                </a:cubicBezTo>
                <a:cubicBezTo>
                  <a:pt x="977" y="44"/>
                  <a:pt x="974" y="44"/>
                  <a:pt x="954" y="43"/>
                </a:cubicBezTo>
                <a:cubicBezTo>
                  <a:pt x="956" y="43"/>
                  <a:pt x="958" y="43"/>
                  <a:pt x="957" y="43"/>
                </a:cubicBezTo>
                <a:cubicBezTo>
                  <a:pt x="951" y="43"/>
                  <a:pt x="949" y="42"/>
                  <a:pt x="945" y="42"/>
                </a:cubicBezTo>
                <a:cubicBezTo>
                  <a:pt x="960" y="43"/>
                  <a:pt x="958" y="43"/>
                  <a:pt x="953" y="43"/>
                </a:cubicBezTo>
                <a:cubicBezTo>
                  <a:pt x="916" y="41"/>
                  <a:pt x="870" y="39"/>
                  <a:pt x="840" y="39"/>
                </a:cubicBezTo>
                <a:cubicBezTo>
                  <a:pt x="836" y="39"/>
                  <a:pt x="834" y="39"/>
                  <a:pt x="829" y="39"/>
                </a:cubicBezTo>
                <a:cubicBezTo>
                  <a:pt x="794" y="38"/>
                  <a:pt x="755" y="38"/>
                  <a:pt x="718" y="40"/>
                </a:cubicBezTo>
                <a:cubicBezTo>
                  <a:pt x="761" y="39"/>
                  <a:pt x="805" y="38"/>
                  <a:pt x="854" y="39"/>
                </a:cubicBezTo>
                <a:cubicBezTo>
                  <a:pt x="856" y="39"/>
                  <a:pt x="854" y="39"/>
                  <a:pt x="859" y="40"/>
                </a:cubicBezTo>
                <a:cubicBezTo>
                  <a:pt x="880" y="40"/>
                  <a:pt x="904" y="41"/>
                  <a:pt x="920" y="42"/>
                </a:cubicBezTo>
                <a:cubicBezTo>
                  <a:pt x="941" y="44"/>
                  <a:pt x="941" y="44"/>
                  <a:pt x="941" y="44"/>
                </a:cubicBezTo>
                <a:cubicBezTo>
                  <a:pt x="993" y="47"/>
                  <a:pt x="1030" y="51"/>
                  <a:pt x="1079" y="57"/>
                </a:cubicBezTo>
                <a:cubicBezTo>
                  <a:pt x="1079" y="57"/>
                  <a:pt x="1082" y="57"/>
                  <a:pt x="1084" y="57"/>
                </a:cubicBezTo>
                <a:cubicBezTo>
                  <a:pt x="1073" y="57"/>
                  <a:pt x="1073" y="57"/>
                  <a:pt x="1073" y="57"/>
                </a:cubicBezTo>
                <a:cubicBezTo>
                  <a:pt x="1049" y="54"/>
                  <a:pt x="1049" y="54"/>
                  <a:pt x="1049" y="54"/>
                </a:cubicBezTo>
                <a:cubicBezTo>
                  <a:pt x="1008" y="50"/>
                  <a:pt x="950" y="45"/>
                  <a:pt x="898" y="43"/>
                </a:cubicBezTo>
                <a:cubicBezTo>
                  <a:pt x="892" y="43"/>
                  <a:pt x="897" y="43"/>
                  <a:pt x="901" y="44"/>
                </a:cubicBezTo>
                <a:cubicBezTo>
                  <a:pt x="926" y="45"/>
                  <a:pt x="948" y="46"/>
                  <a:pt x="975" y="48"/>
                </a:cubicBezTo>
                <a:cubicBezTo>
                  <a:pt x="984" y="50"/>
                  <a:pt x="974" y="49"/>
                  <a:pt x="954" y="48"/>
                </a:cubicBezTo>
                <a:cubicBezTo>
                  <a:pt x="937" y="47"/>
                  <a:pt x="914" y="45"/>
                  <a:pt x="893" y="45"/>
                </a:cubicBezTo>
                <a:cubicBezTo>
                  <a:pt x="871" y="44"/>
                  <a:pt x="851" y="43"/>
                  <a:pt x="841" y="43"/>
                </a:cubicBezTo>
                <a:cubicBezTo>
                  <a:pt x="791" y="42"/>
                  <a:pt x="742" y="43"/>
                  <a:pt x="693" y="45"/>
                </a:cubicBezTo>
                <a:cubicBezTo>
                  <a:pt x="689" y="45"/>
                  <a:pt x="689" y="45"/>
                  <a:pt x="689" y="45"/>
                </a:cubicBezTo>
                <a:cubicBezTo>
                  <a:pt x="689" y="45"/>
                  <a:pt x="689" y="45"/>
                  <a:pt x="689" y="45"/>
                </a:cubicBezTo>
                <a:cubicBezTo>
                  <a:pt x="688" y="45"/>
                  <a:pt x="688" y="45"/>
                  <a:pt x="688" y="45"/>
                </a:cubicBezTo>
                <a:cubicBezTo>
                  <a:pt x="686" y="45"/>
                  <a:pt x="686" y="45"/>
                  <a:pt x="686" y="45"/>
                </a:cubicBezTo>
                <a:cubicBezTo>
                  <a:pt x="686" y="45"/>
                  <a:pt x="687" y="45"/>
                  <a:pt x="688" y="45"/>
                </a:cubicBezTo>
                <a:cubicBezTo>
                  <a:pt x="689" y="45"/>
                  <a:pt x="689" y="45"/>
                  <a:pt x="689" y="45"/>
                </a:cubicBezTo>
                <a:cubicBezTo>
                  <a:pt x="689" y="45"/>
                  <a:pt x="689" y="45"/>
                  <a:pt x="689" y="45"/>
                </a:cubicBezTo>
                <a:cubicBezTo>
                  <a:pt x="689" y="45"/>
                  <a:pt x="689" y="45"/>
                  <a:pt x="689" y="45"/>
                </a:cubicBezTo>
                <a:cubicBezTo>
                  <a:pt x="692" y="45"/>
                  <a:pt x="692" y="45"/>
                  <a:pt x="692" y="45"/>
                </a:cubicBezTo>
                <a:cubicBezTo>
                  <a:pt x="701" y="45"/>
                  <a:pt x="701" y="45"/>
                  <a:pt x="701" y="45"/>
                </a:cubicBezTo>
                <a:cubicBezTo>
                  <a:pt x="701" y="45"/>
                  <a:pt x="703" y="44"/>
                  <a:pt x="707" y="44"/>
                </a:cubicBezTo>
                <a:cubicBezTo>
                  <a:pt x="756" y="43"/>
                  <a:pt x="811" y="43"/>
                  <a:pt x="855" y="43"/>
                </a:cubicBezTo>
                <a:cubicBezTo>
                  <a:pt x="873" y="44"/>
                  <a:pt x="908" y="45"/>
                  <a:pt x="926" y="47"/>
                </a:cubicBezTo>
                <a:cubicBezTo>
                  <a:pt x="922" y="47"/>
                  <a:pt x="907" y="46"/>
                  <a:pt x="888" y="46"/>
                </a:cubicBezTo>
                <a:cubicBezTo>
                  <a:pt x="907" y="46"/>
                  <a:pt x="925" y="48"/>
                  <a:pt x="941" y="49"/>
                </a:cubicBezTo>
                <a:cubicBezTo>
                  <a:pt x="955" y="49"/>
                  <a:pt x="978" y="51"/>
                  <a:pt x="985" y="52"/>
                </a:cubicBezTo>
                <a:cubicBezTo>
                  <a:pt x="986" y="52"/>
                  <a:pt x="984" y="52"/>
                  <a:pt x="985" y="52"/>
                </a:cubicBezTo>
                <a:cubicBezTo>
                  <a:pt x="986" y="52"/>
                  <a:pt x="996" y="53"/>
                  <a:pt x="997" y="53"/>
                </a:cubicBezTo>
                <a:cubicBezTo>
                  <a:pt x="1004" y="53"/>
                  <a:pt x="1003" y="53"/>
                  <a:pt x="1011" y="54"/>
                </a:cubicBezTo>
                <a:cubicBezTo>
                  <a:pt x="1022" y="55"/>
                  <a:pt x="1022" y="55"/>
                  <a:pt x="1029" y="56"/>
                </a:cubicBezTo>
                <a:cubicBezTo>
                  <a:pt x="1067" y="59"/>
                  <a:pt x="1104" y="64"/>
                  <a:pt x="1142" y="69"/>
                </a:cubicBezTo>
                <a:cubicBezTo>
                  <a:pt x="1154" y="71"/>
                  <a:pt x="1154" y="71"/>
                  <a:pt x="1154" y="71"/>
                </a:cubicBezTo>
                <a:cubicBezTo>
                  <a:pt x="1158" y="72"/>
                  <a:pt x="1155" y="72"/>
                  <a:pt x="1159" y="72"/>
                </a:cubicBezTo>
                <a:cubicBezTo>
                  <a:pt x="1162" y="73"/>
                  <a:pt x="1161" y="72"/>
                  <a:pt x="1165" y="73"/>
                </a:cubicBezTo>
                <a:cubicBezTo>
                  <a:pt x="1179" y="75"/>
                  <a:pt x="1196" y="78"/>
                  <a:pt x="1211" y="81"/>
                </a:cubicBezTo>
                <a:cubicBezTo>
                  <a:pt x="1229" y="84"/>
                  <a:pt x="1249" y="88"/>
                  <a:pt x="1267" y="94"/>
                </a:cubicBezTo>
                <a:cubicBezTo>
                  <a:pt x="1275" y="97"/>
                  <a:pt x="1284" y="101"/>
                  <a:pt x="1291" y="105"/>
                </a:cubicBezTo>
                <a:cubicBezTo>
                  <a:pt x="1298" y="109"/>
                  <a:pt x="1303" y="114"/>
                  <a:pt x="1305" y="119"/>
                </a:cubicBezTo>
                <a:cubicBezTo>
                  <a:pt x="1306" y="122"/>
                  <a:pt x="1306" y="121"/>
                  <a:pt x="1306" y="121"/>
                </a:cubicBezTo>
                <a:cubicBezTo>
                  <a:pt x="1306" y="121"/>
                  <a:pt x="1306" y="121"/>
                  <a:pt x="1307" y="124"/>
                </a:cubicBezTo>
                <a:cubicBezTo>
                  <a:pt x="1307" y="125"/>
                  <a:pt x="1307" y="126"/>
                  <a:pt x="1307" y="126"/>
                </a:cubicBezTo>
                <a:cubicBezTo>
                  <a:pt x="1307" y="127"/>
                  <a:pt x="1306" y="127"/>
                  <a:pt x="1306" y="128"/>
                </a:cubicBezTo>
                <a:cubicBezTo>
                  <a:pt x="1304" y="130"/>
                  <a:pt x="1302" y="132"/>
                  <a:pt x="1300" y="134"/>
                </a:cubicBezTo>
                <a:cubicBezTo>
                  <a:pt x="1296" y="138"/>
                  <a:pt x="1291" y="142"/>
                  <a:pt x="1285" y="145"/>
                </a:cubicBezTo>
                <a:cubicBezTo>
                  <a:pt x="1274" y="152"/>
                  <a:pt x="1262" y="158"/>
                  <a:pt x="1250" y="163"/>
                </a:cubicBezTo>
                <a:cubicBezTo>
                  <a:pt x="1247" y="164"/>
                  <a:pt x="1244" y="165"/>
                  <a:pt x="1241" y="166"/>
                </a:cubicBezTo>
                <a:cubicBezTo>
                  <a:pt x="1231" y="169"/>
                  <a:pt x="1231" y="169"/>
                  <a:pt x="1231" y="169"/>
                </a:cubicBezTo>
                <a:cubicBezTo>
                  <a:pt x="1224" y="171"/>
                  <a:pt x="1218" y="173"/>
                  <a:pt x="1211" y="175"/>
                </a:cubicBezTo>
                <a:cubicBezTo>
                  <a:pt x="1198" y="178"/>
                  <a:pt x="1184" y="182"/>
                  <a:pt x="1171" y="185"/>
                </a:cubicBezTo>
                <a:cubicBezTo>
                  <a:pt x="1167" y="186"/>
                  <a:pt x="1170" y="185"/>
                  <a:pt x="1164" y="186"/>
                </a:cubicBezTo>
                <a:cubicBezTo>
                  <a:pt x="1156" y="188"/>
                  <a:pt x="1158" y="188"/>
                  <a:pt x="1152" y="189"/>
                </a:cubicBezTo>
                <a:cubicBezTo>
                  <a:pt x="1147" y="190"/>
                  <a:pt x="1144" y="191"/>
                  <a:pt x="1141" y="191"/>
                </a:cubicBezTo>
                <a:cubicBezTo>
                  <a:pt x="1110" y="197"/>
                  <a:pt x="1078" y="201"/>
                  <a:pt x="1045" y="205"/>
                </a:cubicBezTo>
                <a:cubicBezTo>
                  <a:pt x="1013" y="208"/>
                  <a:pt x="980" y="210"/>
                  <a:pt x="947" y="213"/>
                </a:cubicBezTo>
                <a:cubicBezTo>
                  <a:pt x="885" y="217"/>
                  <a:pt x="823" y="220"/>
                  <a:pt x="765" y="221"/>
                </a:cubicBezTo>
                <a:cubicBezTo>
                  <a:pt x="719" y="222"/>
                  <a:pt x="675" y="223"/>
                  <a:pt x="633" y="222"/>
                </a:cubicBezTo>
                <a:cubicBezTo>
                  <a:pt x="578" y="222"/>
                  <a:pt x="530" y="221"/>
                  <a:pt x="478" y="219"/>
                </a:cubicBezTo>
                <a:cubicBezTo>
                  <a:pt x="441" y="218"/>
                  <a:pt x="400" y="216"/>
                  <a:pt x="368" y="214"/>
                </a:cubicBezTo>
                <a:cubicBezTo>
                  <a:pt x="350" y="214"/>
                  <a:pt x="350" y="214"/>
                  <a:pt x="350" y="214"/>
                </a:cubicBezTo>
                <a:cubicBezTo>
                  <a:pt x="321" y="212"/>
                  <a:pt x="321" y="212"/>
                  <a:pt x="321" y="212"/>
                </a:cubicBezTo>
                <a:cubicBezTo>
                  <a:pt x="296" y="210"/>
                  <a:pt x="270" y="209"/>
                  <a:pt x="244" y="206"/>
                </a:cubicBezTo>
                <a:cubicBezTo>
                  <a:pt x="215" y="204"/>
                  <a:pt x="188" y="201"/>
                  <a:pt x="160" y="198"/>
                </a:cubicBezTo>
                <a:cubicBezTo>
                  <a:pt x="144" y="196"/>
                  <a:pt x="129" y="194"/>
                  <a:pt x="114" y="191"/>
                </a:cubicBezTo>
                <a:cubicBezTo>
                  <a:pt x="103" y="189"/>
                  <a:pt x="93" y="187"/>
                  <a:pt x="82" y="185"/>
                </a:cubicBezTo>
                <a:cubicBezTo>
                  <a:pt x="68" y="182"/>
                  <a:pt x="53" y="178"/>
                  <a:pt x="40" y="172"/>
                </a:cubicBezTo>
                <a:cubicBezTo>
                  <a:pt x="33" y="170"/>
                  <a:pt x="26" y="166"/>
                  <a:pt x="22" y="163"/>
                </a:cubicBezTo>
                <a:cubicBezTo>
                  <a:pt x="17" y="159"/>
                  <a:pt x="14" y="154"/>
                  <a:pt x="14" y="149"/>
                </a:cubicBezTo>
                <a:cubicBezTo>
                  <a:pt x="14" y="144"/>
                  <a:pt x="19" y="137"/>
                  <a:pt x="26" y="131"/>
                </a:cubicBezTo>
                <a:cubicBezTo>
                  <a:pt x="33" y="126"/>
                  <a:pt x="41" y="121"/>
                  <a:pt x="50" y="117"/>
                </a:cubicBezTo>
                <a:cubicBezTo>
                  <a:pt x="67" y="108"/>
                  <a:pt x="85" y="101"/>
                  <a:pt x="103" y="95"/>
                </a:cubicBezTo>
                <a:cubicBezTo>
                  <a:pt x="144" y="82"/>
                  <a:pt x="195" y="70"/>
                  <a:pt x="235" y="61"/>
                </a:cubicBezTo>
                <a:cubicBezTo>
                  <a:pt x="268" y="55"/>
                  <a:pt x="302" y="49"/>
                  <a:pt x="340" y="44"/>
                </a:cubicBezTo>
                <a:cubicBezTo>
                  <a:pt x="350" y="42"/>
                  <a:pt x="350" y="42"/>
                  <a:pt x="350" y="42"/>
                </a:cubicBezTo>
                <a:cubicBezTo>
                  <a:pt x="407" y="35"/>
                  <a:pt x="471" y="28"/>
                  <a:pt x="517" y="25"/>
                </a:cubicBezTo>
                <a:cubicBezTo>
                  <a:pt x="534" y="24"/>
                  <a:pt x="549" y="23"/>
                  <a:pt x="565" y="22"/>
                </a:cubicBezTo>
                <a:cubicBezTo>
                  <a:pt x="583" y="21"/>
                  <a:pt x="599" y="20"/>
                  <a:pt x="616" y="19"/>
                </a:cubicBezTo>
                <a:cubicBezTo>
                  <a:pt x="632" y="19"/>
                  <a:pt x="632" y="19"/>
                  <a:pt x="632" y="19"/>
                </a:cubicBezTo>
                <a:cubicBezTo>
                  <a:pt x="649" y="18"/>
                  <a:pt x="666" y="17"/>
                  <a:pt x="684" y="17"/>
                </a:cubicBezTo>
                <a:cubicBezTo>
                  <a:pt x="712" y="16"/>
                  <a:pt x="742" y="16"/>
                  <a:pt x="774" y="16"/>
                </a:cubicBezTo>
                <a:cubicBezTo>
                  <a:pt x="799" y="16"/>
                  <a:pt x="836" y="16"/>
                  <a:pt x="864" y="16"/>
                </a:cubicBezTo>
                <a:cubicBezTo>
                  <a:pt x="912" y="18"/>
                  <a:pt x="961" y="19"/>
                  <a:pt x="1010" y="23"/>
                </a:cubicBezTo>
                <a:cubicBezTo>
                  <a:pt x="1026" y="24"/>
                  <a:pt x="1041" y="26"/>
                  <a:pt x="1058" y="27"/>
                </a:cubicBezTo>
                <a:cubicBezTo>
                  <a:pt x="1075" y="29"/>
                  <a:pt x="1096" y="31"/>
                  <a:pt x="1117" y="35"/>
                </a:cubicBezTo>
                <a:cubicBezTo>
                  <a:pt x="1123" y="36"/>
                  <a:pt x="1123" y="36"/>
                  <a:pt x="1123" y="36"/>
                </a:cubicBezTo>
                <a:cubicBezTo>
                  <a:pt x="1123" y="36"/>
                  <a:pt x="1123" y="36"/>
                  <a:pt x="1123" y="36"/>
                </a:cubicBezTo>
                <a:cubicBezTo>
                  <a:pt x="1124" y="36"/>
                  <a:pt x="1124" y="36"/>
                  <a:pt x="1124" y="36"/>
                </a:cubicBezTo>
                <a:cubicBezTo>
                  <a:pt x="1125" y="36"/>
                  <a:pt x="1125" y="36"/>
                  <a:pt x="1125" y="36"/>
                </a:cubicBezTo>
                <a:cubicBezTo>
                  <a:pt x="1125" y="36"/>
                  <a:pt x="1127" y="36"/>
                  <a:pt x="1127" y="37"/>
                </a:cubicBezTo>
                <a:cubicBezTo>
                  <a:pt x="1127" y="38"/>
                  <a:pt x="1128" y="36"/>
                  <a:pt x="1129" y="37"/>
                </a:cubicBezTo>
                <a:cubicBezTo>
                  <a:pt x="1129" y="37"/>
                  <a:pt x="1129" y="37"/>
                  <a:pt x="1129" y="38"/>
                </a:cubicBezTo>
                <a:cubicBezTo>
                  <a:pt x="1129" y="38"/>
                  <a:pt x="1129" y="38"/>
                  <a:pt x="1130" y="38"/>
                </a:cubicBezTo>
                <a:cubicBezTo>
                  <a:pt x="1130" y="38"/>
                  <a:pt x="1130" y="39"/>
                  <a:pt x="1131" y="39"/>
                </a:cubicBezTo>
                <a:cubicBezTo>
                  <a:pt x="1131" y="39"/>
                  <a:pt x="1131" y="39"/>
                  <a:pt x="1131" y="39"/>
                </a:cubicBezTo>
                <a:cubicBezTo>
                  <a:pt x="1132" y="39"/>
                  <a:pt x="1132" y="39"/>
                  <a:pt x="1133" y="39"/>
                </a:cubicBezTo>
                <a:cubicBezTo>
                  <a:pt x="1133" y="39"/>
                  <a:pt x="1134" y="39"/>
                  <a:pt x="1134" y="39"/>
                </a:cubicBezTo>
                <a:cubicBezTo>
                  <a:pt x="1135" y="39"/>
                  <a:pt x="1135" y="39"/>
                  <a:pt x="1135" y="39"/>
                </a:cubicBezTo>
                <a:cubicBezTo>
                  <a:pt x="1136" y="39"/>
                  <a:pt x="1136" y="39"/>
                  <a:pt x="1137" y="38"/>
                </a:cubicBezTo>
                <a:cubicBezTo>
                  <a:pt x="1137" y="38"/>
                  <a:pt x="1138" y="38"/>
                  <a:pt x="1138" y="38"/>
                </a:cubicBezTo>
                <a:cubicBezTo>
                  <a:pt x="1138" y="38"/>
                  <a:pt x="1139" y="38"/>
                  <a:pt x="1139" y="38"/>
                </a:cubicBezTo>
                <a:cubicBezTo>
                  <a:pt x="1140" y="37"/>
                  <a:pt x="1141" y="36"/>
                  <a:pt x="1142" y="36"/>
                </a:cubicBezTo>
                <a:cubicBezTo>
                  <a:pt x="1142" y="36"/>
                  <a:pt x="1142" y="35"/>
                  <a:pt x="1143" y="35"/>
                </a:cubicBezTo>
                <a:cubicBezTo>
                  <a:pt x="1143" y="35"/>
                  <a:pt x="1143" y="35"/>
                  <a:pt x="1143" y="35"/>
                </a:cubicBezTo>
                <a:cubicBezTo>
                  <a:pt x="1143" y="34"/>
                  <a:pt x="1143" y="33"/>
                  <a:pt x="1144" y="33"/>
                </a:cubicBezTo>
                <a:cubicBezTo>
                  <a:pt x="1144" y="33"/>
                  <a:pt x="1144" y="33"/>
                  <a:pt x="1144" y="33"/>
                </a:cubicBezTo>
                <a:cubicBezTo>
                  <a:pt x="1144" y="32"/>
                  <a:pt x="1144" y="31"/>
                  <a:pt x="1144" y="30"/>
                </a:cubicBezTo>
                <a:cubicBezTo>
                  <a:pt x="1144" y="29"/>
                  <a:pt x="1144" y="28"/>
                  <a:pt x="1144" y="28"/>
                </a:cubicBezTo>
                <a:cubicBezTo>
                  <a:pt x="1144" y="28"/>
                  <a:pt x="1144" y="27"/>
                  <a:pt x="1144" y="27"/>
                </a:cubicBezTo>
                <a:cubicBezTo>
                  <a:pt x="1144" y="26"/>
                  <a:pt x="1143" y="26"/>
                  <a:pt x="1143" y="26"/>
                </a:cubicBezTo>
                <a:cubicBezTo>
                  <a:pt x="1143" y="25"/>
                  <a:pt x="1143" y="25"/>
                  <a:pt x="1143" y="25"/>
                </a:cubicBezTo>
                <a:cubicBezTo>
                  <a:pt x="1143" y="25"/>
                  <a:pt x="1142" y="24"/>
                  <a:pt x="1142" y="24"/>
                </a:cubicBezTo>
                <a:cubicBezTo>
                  <a:pt x="1142" y="24"/>
                  <a:pt x="1142" y="24"/>
                  <a:pt x="1142" y="24"/>
                </a:cubicBezTo>
                <a:cubicBezTo>
                  <a:pt x="1141" y="23"/>
                  <a:pt x="1141" y="22"/>
                  <a:pt x="1140" y="22"/>
                </a:cubicBezTo>
                <a:cubicBezTo>
                  <a:pt x="1140" y="22"/>
                  <a:pt x="1139" y="21"/>
                  <a:pt x="1139" y="21"/>
                </a:cubicBezTo>
                <a:cubicBezTo>
                  <a:pt x="1138" y="21"/>
                  <a:pt x="1137" y="21"/>
                  <a:pt x="1137" y="20"/>
                </a:cubicBezTo>
                <a:cubicBezTo>
                  <a:pt x="1137" y="20"/>
                  <a:pt x="1137" y="20"/>
                  <a:pt x="1137" y="20"/>
                </a:cubicBezTo>
                <a:cubicBezTo>
                  <a:pt x="1137" y="20"/>
                  <a:pt x="1136" y="20"/>
                  <a:pt x="1136" y="20"/>
                </a:cubicBezTo>
                <a:cubicBezTo>
                  <a:pt x="1136" y="20"/>
                  <a:pt x="1135" y="20"/>
                  <a:pt x="1135" y="20"/>
                </a:cubicBezTo>
                <a:cubicBezTo>
                  <a:pt x="1135" y="20"/>
                  <a:pt x="1134" y="19"/>
                  <a:pt x="1134" y="19"/>
                </a:cubicBezTo>
                <a:cubicBezTo>
                  <a:pt x="1134" y="19"/>
                  <a:pt x="1134" y="20"/>
                  <a:pt x="1133" y="20"/>
                </a:cubicBezTo>
                <a:cubicBezTo>
                  <a:pt x="1133" y="20"/>
                  <a:pt x="1132" y="19"/>
                  <a:pt x="1132" y="19"/>
                </a:cubicBezTo>
                <a:cubicBezTo>
                  <a:pt x="1131" y="19"/>
                  <a:pt x="1131" y="19"/>
                  <a:pt x="1131" y="19"/>
                </a:cubicBezTo>
                <a:cubicBezTo>
                  <a:pt x="1131" y="19"/>
                  <a:pt x="1130" y="19"/>
                  <a:pt x="1130" y="20"/>
                </a:cubicBezTo>
                <a:cubicBezTo>
                  <a:pt x="1130" y="20"/>
                  <a:pt x="1128" y="19"/>
                  <a:pt x="1127" y="20"/>
                </a:cubicBezTo>
                <a:cubicBezTo>
                  <a:pt x="1127" y="19"/>
                  <a:pt x="1127" y="19"/>
                  <a:pt x="1126" y="19"/>
                </a:cubicBezTo>
                <a:cubicBezTo>
                  <a:pt x="1126" y="19"/>
                  <a:pt x="1126" y="19"/>
                  <a:pt x="1126" y="19"/>
                </a:cubicBezTo>
                <a:cubicBezTo>
                  <a:pt x="1126" y="19"/>
                  <a:pt x="1126" y="19"/>
                  <a:pt x="1126" y="19"/>
                </a:cubicBezTo>
                <a:cubicBezTo>
                  <a:pt x="1122" y="19"/>
                  <a:pt x="1122" y="19"/>
                  <a:pt x="1122" y="19"/>
                </a:cubicBezTo>
                <a:cubicBezTo>
                  <a:pt x="1103" y="16"/>
                  <a:pt x="1103" y="16"/>
                  <a:pt x="1103" y="16"/>
                </a:cubicBezTo>
                <a:cubicBezTo>
                  <a:pt x="1098" y="15"/>
                  <a:pt x="1092" y="15"/>
                  <a:pt x="1087" y="14"/>
                </a:cubicBezTo>
                <a:cubicBezTo>
                  <a:pt x="1078" y="13"/>
                  <a:pt x="1067" y="12"/>
                  <a:pt x="1056" y="11"/>
                </a:cubicBezTo>
                <a:cubicBezTo>
                  <a:pt x="1037" y="9"/>
                  <a:pt x="1021" y="8"/>
                  <a:pt x="1005" y="7"/>
                </a:cubicBezTo>
                <a:cubicBezTo>
                  <a:pt x="981" y="5"/>
                  <a:pt x="964" y="4"/>
                  <a:pt x="944" y="3"/>
                </a:cubicBezTo>
                <a:cubicBezTo>
                  <a:pt x="920" y="2"/>
                  <a:pt x="920" y="2"/>
                  <a:pt x="920" y="2"/>
                </a:cubicBezTo>
                <a:cubicBezTo>
                  <a:pt x="898" y="2"/>
                  <a:pt x="898" y="2"/>
                  <a:pt x="898" y="2"/>
                </a:cubicBezTo>
                <a:cubicBezTo>
                  <a:pt x="875" y="1"/>
                  <a:pt x="875" y="1"/>
                  <a:pt x="875" y="1"/>
                </a:cubicBezTo>
                <a:cubicBezTo>
                  <a:pt x="860" y="1"/>
                  <a:pt x="860" y="1"/>
                  <a:pt x="860" y="1"/>
                </a:cubicBezTo>
                <a:cubicBezTo>
                  <a:pt x="844" y="0"/>
                  <a:pt x="844" y="0"/>
                  <a:pt x="844" y="0"/>
                </a:cubicBezTo>
                <a:cubicBezTo>
                  <a:pt x="824" y="0"/>
                  <a:pt x="824" y="0"/>
                  <a:pt x="824" y="0"/>
                </a:cubicBezTo>
                <a:cubicBezTo>
                  <a:pt x="800" y="0"/>
                  <a:pt x="773" y="0"/>
                  <a:pt x="750" y="1"/>
                </a:cubicBezTo>
                <a:cubicBezTo>
                  <a:pt x="708" y="1"/>
                  <a:pt x="671" y="2"/>
                  <a:pt x="622" y="4"/>
                </a:cubicBezTo>
                <a:cubicBezTo>
                  <a:pt x="587" y="6"/>
                  <a:pt x="587" y="6"/>
                  <a:pt x="587" y="6"/>
                </a:cubicBezTo>
                <a:cubicBezTo>
                  <a:pt x="584" y="6"/>
                  <a:pt x="584" y="6"/>
                  <a:pt x="580" y="6"/>
                </a:cubicBezTo>
                <a:cubicBezTo>
                  <a:pt x="554" y="7"/>
                  <a:pt x="527" y="10"/>
                  <a:pt x="500" y="11"/>
                </a:cubicBezTo>
                <a:cubicBezTo>
                  <a:pt x="497" y="12"/>
                  <a:pt x="497" y="12"/>
                  <a:pt x="497" y="12"/>
                </a:cubicBezTo>
                <a:cubicBezTo>
                  <a:pt x="460" y="14"/>
                  <a:pt x="414" y="19"/>
                  <a:pt x="385" y="23"/>
                </a:cubicBezTo>
                <a:cubicBezTo>
                  <a:pt x="363" y="25"/>
                  <a:pt x="337" y="29"/>
                  <a:pt x="309" y="33"/>
                </a:cubicBezTo>
                <a:cubicBezTo>
                  <a:pt x="297" y="35"/>
                  <a:pt x="284" y="37"/>
                  <a:pt x="272" y="39"/>
                </a:cubicBezTo>
                <a:cubicBezTo>
                  <a:pt x="249" y="44"/>
                  <a:pt x="218" y="50"/>
                  <a:pt x="196" y="55"/>
                </a:cubicBezTo>
                <a:cubicBezTo>
                  <a:pt x="176" y="60"/>
                  <a:pt x="176" y="60"/>
                  <a:pt x="176" y="60"/>
                </a:cubicBezTo>
                <a:cubicBezTo>
                  <a:pt x="164" y="63"/>
                  <a:pt x="152" y="66"/>
                  <a:pt x="139" y="69"/>
                </a:cubicBezTo>
                <a:cubicBezTo>
                  <a:pt x="115" y="76"/>
                  <a:pt x="89" y="84"/>
                  <a:pt x="65" y="94"/>
                </a:cubicBezTo>
                <a:cubicBezTo>
                  <a:pt x="53" y="99"/>
                  <a:pt x="41" y="104"/>
                  <a:pt x="30" y="111"/>
                </a:cubicBezTo>
                <a:cubicBezTo>
                  <a:pt x="25" y="114"/>
                  <a:pt x="19" y="118"/>
                  <a:pt x="15" y="122"/>
                </a:cubicBezTo>
                <a:cubicBezTo>
                  <a:pt x="10" y="127"/>
                  <a:pt x="5" y="131"/>
                  <a:pt x="2" y="138"/>
                </a:cubicBezTo>
                <a:cubicBezTo>
                  <a:pt x="1" y="142"/>
                  <a:pt x="0" y="146"/>
                  <a:pt x="0" y="151"/>
                </a:cubicBezTo>
                <a:cubicBezTo>
                  <a:pt x="0" y="155"/>
                  <a:pt x="1" y="159"/>
                  <a:pt x="3" y="163"/>
                </a:cubicBezTo>
                <a:cubicBezTo>
                  <a:pt x="4" y="165"/>
                  <a:pt x="6" y="166"/>
                  <a:pt x="7" y="168"/>
                </a:cubicBezTo>
                <a:cubicBezTo>
                  <a:pt x="8" y="169"/>
                  <a:pt x="10" y="171"/>
                  <a:pt x="11" y="172"/>
                </a:cubicBezTo>
                <a:cubicBezTo>
                  <a:pt x="14" y="175"/>
                  <a:pt x="17" y="177"/>
                  <a:pt x="21" y="179"/>
                </a:cubicBezTo>
                <a:cubicBezTo>
                  <a:pt x="33" y="186"/>
                  <a:pt x="45" y="190"/>
                  <a:pt x="58" y="193"/>
                </a:cubicBezTo>
                <a:cubicBezTo>
                  <a:pt x="70" y="197"/>
                  <a:pt x="83" y="200"/>
                  <a:pt x="95" y="202"/>
                </a:cubicBezTo>
                <a:cubicBezTo>
                  <a:pt x="101" y="203"/>
                  <a:pt x="108" y="204"/>
                  <a:pt x="113" y="205"/>
                </a:cubicBezTo>
                <a:cubicBezTo>
                  <a:pt x="128" y="208"/>
                  <a:pt x="142" y="210"/>
                  <a:pt x="158" y="212"/>
                </a:cubicBezTo>
                <a:cubicBezTo>
                  <a:pt x="197" y="217"/>
                  <a:pt x="236" y="220"/>
                  <a:pt x="272" y="223"/>
                </a:cubicBezTo>
                <a:cubicBezTo>
                  <a:pt x="318" y="226"/>
                  <a:pt x="386" y="230"/>
                  <a:pt x="440" y="232"/>
                </a:cubicBezTo>
                <a:cubicBezTo>
                  <a:pt x="452" y="232"/>
                  <a:pt x="464" y="233"/>
                  <a:pt x="476" y="233"/>
                </a:cubicBezTo>
                <a:cubicBezTo>
                  <a:pt x="515" y="234"/>
                  <a:pt x="564" y="235"/>
                  <a:pt x="605" y="236"/>
                </a:cubicBezTo>
                <a:cubicBezTo>
                  <a:pt x="690" y="237"/>
                  <a:pt x="777" y="235"/>
                  <a:pt x="863" y="231"/>
                </a:cubicBezTo>
                <a:cubicBezTo>
                  <a:pt x="906" y="229"/>
                  <a:pt x="950" y="227"/>
                  <a:pt x="992" y="223"/>
                </a:cubicBezTo>
                <a:cubicBezTo>
                  <a:pt x="1035" y="220"/>
                  <a:pt x="1078" y="216"/>
                  <a:pt x="1120" y="209"/>
                </a:cubicBezTo>
                <a:cubicBezTo>
                  <a:pt x="1133" y="207"/>
                  <a:pt x="1153" y="203"/>
                  <a:pt x="1164" y="200"/>
                </a:cubicBezTo>
                <a:cubicBezTo>
                  <a:pt x="1167" y="200"/>
                  <a:pt x="1174" y="198"/>
                  <a:pt x="1180" y="197"/>
                </a:cubicBezTo>
                <a:cubicBezTo>
                  <a:pt x="1201" y="191"/>
                  <a:pt x="1226" y="184"/>
                  <a:pt x="1252" y="176"/>
                </a:cubicBezTo>
                <a:cubicBezTo>
                  <a:pt x="1259" y="174"/>
                  <a:pt x="1274" y="167"/>
                  <a:pt x="1282" y="162"/>
                </a:cubicBezTo>
                <a:cubicBezTo>
                  <a:pt x="1286" y="160"/>
                  <a:pt x="1277" y="165"/>
                  <a:pt x="1284" y="161"/>
                </a:cubicBezTo>
                <a:cubicBezTo>
                  <a:pt x="1288" y="159"/>
                  <a:pt x="1294" y="155"/>
                  <a:pt x="1301" y="150"/>
                </a:cubicBezTo>
                <a:cubicBezTo>
                  <a:pt x="1304" y="148"/>
                  <a:pt x="1308" y="145"/>
                  <a:pt x="1311" y="141"/>
                </a:cubicBezTo>
                <a:cubicBezTo>
                  <a:pt x="1313" y="139"/>
                  <a:pt x="1315" y="137"/>
                  <a:pt x="1317" y="134"/>
                </a:cubicBezTo>
                <a:cubicBezTo>
                  <a:pt x="1317" y="133"/>
                  <a:pt x="1318" y="132"/>
                  <a:pt x="1319" y="130"/>
                </a:cubicBezTo>
                <a:cubicBezTo>
                  <a:pt x="1319" y="129"/>
                  <a:pt x="1319" y="128"/>
                  <a:pt x="1319" y="127"/>
                </a:cubicBezTo>
                <a:cubicBezTo>
                  <a:pt x="1319" y="126"/>
                  <a:pt x="1319" y="126"/>
                  <a:pt x="1319" y="126"/>
                </a:cubicBezTo>
                <a:close/>
                <a:moveTo>
                  <a:pt x="1104" y="52"/>
                </a:moveTo>
                <a:cubicBezTo>
                  <a:pt x="1102" y="51"/>
                  <a:pt x="1092" y="50"/>
                  <a:pt x="1091" y="50"/>
                </a:cubicBezTo>
                <a:cubicBezTo>
                  <a:pt x="1095" y="50"/>
                  <a:pt x="1103" y="52"/>
                  <a:pt x="1104" y="52"/>
                </a:cubicBezTo>
                <a:close/>
                <a:moveTo>
                  <a:pt x="985" y="52"/>
                </a:moveTo>
                <a:cubicBezTo>
                  <a:pt x="985" y="52"/>
                  <a:pt x="985" y="52"/>
                  <a:pt x="985" y="52"/>
                </a:cubicBezTo>
                <a:cubicBezTo>
                  <a:pt x="985" y="52"/>
                  <a:pt x="985" y="52"/>
                  <a:pt x="985" y="52"/>
                </a:cubicBezTo>
                <a:close/>
                <a:moveTo>
                  <a:pt x="689" y="44"/>
                </a:moveTo>
                <a:cubicBezTo>
                  <a:pt x="689" y="43"/>
                  <a:pt x="688" y="44"/>
                  <a:pt x="688" y="43"/>
                </a:cubicBezTo>
                <a:cubicBezTo>
                  <a:pt x="689" y="43"/>
                  <a:pt x="689" y="43"/>
                  <a:pt x="689" y="43"/>
                </a:cubicBezTo>
                <a:cubicBezTo>
                  <a:pt x="689" y="43"/>
                  <a:pt x="687" y="43"/>
                  <a:pt x="687" y="43"/>
                </a:cubicBezTo>
                <a:cubicBezTo>
                  <a:pt x="687" y="43"/>
                  <a:pt x="688" y="44"/>
                  <a:pt x="688" y="43"/>
                </a:cubicBezTo>
                <a:cubicBezTo>
                  <a:pt x="688" y="43"/>
                  <a:pt x="688" y="43"/>
                  <a:pt x="688" y="44"/>
                </a:cubicBezTo>
                <a:cubicBezTo>
                  <a:pt x="688" y="44"/>
                  <a:pt x="688" y="43"/>
                  <a:pt x="688" y="43"/>
                </a:cubicBezTo>
                <a:cubicBezTo>
                  <a:pt x="688" y="44"/>
                  <a:pt x="688" y="44"/>
                  <a:pt x="688" y="44"/>
                </a:cubicBezTo>
                <a:cubicBezTo>
                  <a:pt x="689" y="44"/>
                  <a:pt x="689" y="44"/>
                  <a:pt x="689" y="44"/>
                </a:cubicBezTo>
                <a:close/>
                <a:moveTo>
                  <a:pt x="1041" y="46"/>
                </a:moveTo>
                <a:cubicBezTo>
                  <a:pt x="1044" y="47"/>
                  <a:pt x="1051" y="47"/>
                  <a:pt x="1053" y="48"/>
                </a:cubicBezTo>
                <a:cubicBezTo>
                  <a:pt x="1049" y="47"/>
                  <a:pt x="1042" y="46"/>
                  <a:pt x="1041" y="46"/>
                </a:cubicBezTo>
                <a:close/>
                <a:moveTo>
                  <a:pt x="689" y="39"/>
                </a:moveTo>
                <a:cubicBezTo>
                  <a:pt x="689" y="39"/>
                  <a:pt x="688" y="39"/>
                  <a:pt x="688" y="39"/>
                </a:cubicBezTo>
                <a:cubicBezTo>
                  <a:pt x="689" y="39"/>
                  <a:pt x="689" y="39"/>
                  <a:pt x="689" y="39"/>
                </a:cubicBezTo>
                <a:close/>
                <a:moveTo>
                  <a:pt x="688" y="45"/>
                </a:moveTo>
                <a:cubicBezTo>
                  <a:pt x="688" y="45"/>
                  <a:pt x="688" y="45"/>
                  <a:pt x="687" y="45"/>
                </a:cubicBezTo>
                <a:cubicBezTo>
                  <a:pt x="688" y="45"/>
                  <a:pt x="688" y="45"/>
                  <a:pt x="688" y="45"/>
                </a:cubicBezTo>
                <a:close/>
                <a:moveTo>
                  <a:pt x="863" y="47"/>
                </a:moveTo>
                <a:cubicBezTo>
                  <a:pt x="849" y="46"/>
                  <a:pt x="839" y="46"/>
                  <a:pt x="830" y="46"/>
                </a:cubicBezTo>
                <a:cubicBezTo>
                  <a:pt x="838" y="46"/>
                  <a:pt x="848" y="46"/>
                  <a:pt x="853" y="47"/>
                </a:cubicBezTo>
                <a:cubicBezTo>
                  <a:pt x="855" y="46"/>
                  <a:pt x="860" y="47"/>
                  <a:pt x="863" y="47"/>
                </a:cubicBezTo>
                <a:close/>
                <a:moveTo>
                  <a:pt x="1279" y="100"/>
                </a:moveTo>
                <a:cubicBezTo>
                  <a:pt x="1276" y="98"/>
                  <a:pt x="1271" y="96"/>
                  <a:pt x="1270" y="96"/>
                </a:cubicBezTo>
                <a:cubicBezTo>
                  <a:pt x="1274" y="98"/>
                  <a:pt x="1277" y="99"/>
                  <a:pt x="1279" y="100"/>
                </a:cubicBezTo>
                <a:close/>
                <a:moveTo>
                  <a:pt x="688" y="39"/>
                </a:moveTo>
                <a:cubicBezTo>
                  <a:pt x="688" y="39"/>
                  <a:pt x="688" y="39"/>
                  <a:pt x="688" y="39"/>
                </a:cubicBezTo>
                <a:cubicBezTo>
                  <a:pt x="688" y="39"/>
                  <a:pt x="688" y="39"/>
                  <a:pt x="688" y="39"/>
                </a:cubicBezTo>
                <a:cubicBezTo>
                  <a:pt x="688" y="39"/>
                  <a:pt x="688" y="39"/>
                  <a:pt x="688" y="39"/>
                </a:cubicBezTo>
                <a:close/>
                <a:moveTo>
                  <a:pt x="688" y="46"/>
                </a:moveTo>
                <a:cubicBezTo>
                  <a:pt x="688" y="46"/>
                  <a:pt x="689" y="46"/>
                  <a:pt x="689" y="46"/>
                </a:cubicBezTo>
                <a:cubicBezTo>
                  <a:pt x="688" y="46"/>
                  <a:pt x="688" y="46"/>
                  <a:pt x="688" y="46"/>
                </a:cubicBezTo>
                <a:close/>
                <a:moveTo>
                  <a:pt x="769" y="37"/>
                </a:moveTo>
                <a:cubicBezTo>
                  <a:pt x="762" y="37"/>
                  <a:pt x="762" y="37"/>
                  <a:pt x="762" y="37"/>
                </a:cubicBezTo>
                <a:cubicBezTo>
                  <a:pt x="761" y="37"/>
                  <a:pt x="762" y="37"/>
                  <a:pt x="763" y="37"/>
                </a:cubicBezTo>
                <a:cubicBezTo>
                  <a:pt x="768" y="37"/>
                  <a:pt x="769" y="37"/>
                  <a:pt x="769" y="37"/>
                </a:cubicBezTo>
                <a:close/>
                <a:moveTo>
                  <a:pt x="923" y="41"/>
                </a:moveTo>
                <a:cubicBezTo>
                  <a:pt x="912" y="40"/>
                  <a:pt x="912" y="40"/>
                  <a:pt x="912" y="40"/>
                </a:cubicBezTo>
                <a:cubicBezTo>
                  <a:pt x="907" y="40"/>
                  <a:pt x="879" y="39"/>
                  <a:pt x="882" y="39"/>
                </a:cubicBezTo>
                <a:cubicBezTo>
                  <a:pt x="899" y="40"/>
                  <a:pt x="924" y="41"/>
                  <a:pt x="938" y="42"/>
                </a:cubicBezTo>
                <a:cubicBezTo>
                  <a:pt x="933" y="41"/>
                  <a:pt x="928" y="41"/>
                  <a:pt x="923" y="41"/>
                </a:cubicBezTo>
                <a:close/>
                <a:moveTo>
                  <a:pt x="926" y="46"/>
                </a:moveTo>
                <a:cubicBezTo>
                  <a:pt x="967" y="48"/>
                  <a:pt x="967" y="48"/>
                  <a:pt x="967" y="48"/>
                </a:cubicBezTo>
                <a:cubicBezTo>
                  <a:pt x="954" y="47"/>
                  <a:pt x="939" y="46"/>
                  <a:pt x="926" y="46"/>
                </a:cubicBezTo>
                <a:close/>
                <a:moveTo>
                  <a:pt x="683" y="48"/>
                </a:moveTo>
                <a:cubicBezTo>
                  <a:pt x="683" y="48"/>
                  <a:pt x="683" y="48"/>
                  <a:pt x="683" y="48"/>
                </a:cubicBezTo>
                <a:close/>
                <a:moveTo>
                  <a:pt x="985" y="52"/>
                </a:moveTo>
                <a:cubicBezTo>
                  <a:pt x="985" y="52"/>
                  <a:pt x="986" y="52"/>
                  <a:pt x="986" y="52"/>
                </a:cubicBezTo>
                <a:cubicBezTo>
                  <a:pt x="986" y="52"/>
                  <a:pt x="985" y="52"/>
                  <a:pt x="985" y="52"/>
                </a:cubicBezTo>
                <a:close/>
                <a:moveTo>
                  <a:pt x="687" y="40"/>
                </a:moveTo>
                <a:cubicBezTo>
                  <a:pt x="687" y="40"/>
                  <a:pt x="687" y="40"/>
                  <a:pt x="687" y="40"/>
                </a:cubicBezTo>
                <a:cubicBezTo>
                  <a:pt x="687" y="40"/>
                  <a:pt x="687" y="40"/>
                  <a:pt x="687" y="40"/>
                </a:cubicBezTo>
                <a:close/>
                <a:moveTo>
                  <a:pt x="687" y="41"/>
                </a:moveTo>
                <a:cubicBezTo>
                  <a:pt x="687" y="41"/>
                  <a:pt x="687" y="41"/>
                  <a:pt x="687" y="41"/>
                </a:cubicBezTo>
                <a:cubicBezTo>
                  <a:pt x="687" y="41"/>
                  <a:pt x="687" y="41"/>
                  <a:pt x="687" y="41"/>
                </a:cubicBezTo>
                <a:close/>
                <a:moveTo>
                  <a:pt x="689" y="38"/>
                </a:moveTo>
                <a:cubicBezTo>
                  <a:pt x="689" y="38"/>
                  <a:pt x="689" y="38"/>
                  <a:pt x="689" y="38"/>
                </a:cubicBezTo>
                <a:cubicBezTo>
                  <a:pt x="689" y="38"/>
                  <a:pt x="689" y="38"/>
                  <a:pt x="689" y="38"/>
                </a:cubicBezTo>
                <a:cubicBezTo>
                  <a:pt x="689" y="38"/>
                  <a:pt x="689" y="38"/>
                  <a:pt x="689" y="38"/>
                </a:cubicBezTo>
                <a:cubicBezTo>
                  <a:pt x="689" y="38"/>
                  <a:pt x="689" y="38"/>
                  <a:pt x="689" y="38"/>
                </a:cubicBezTo>
                <a:cubicBezTo>
                  <a:pt x="689" y="38"/>
                  <a:pt x="689" y="38"/>
                  <a:pt x="689" y="38"/>
                </a:cubicBezTo>
                <a:cubicBezTo>
                  <a:pt x="689" y="38"/>
                  <a:pt x="690" y="38"/>
                  <a:pt x="690" y="38"/>
                </a:cubicBezTo>
                <a:cubicBezTo>
                  <a:pt x="689" y="38"/>
                  <a:pt x="689" y="38"/>
                  <a:pt x="689" y="38"/>
                </a:cubicBezTo>
                <a:close/>
                <a:moveTo>
                  <a:pt x="689" y="45"/>
                </a:moveTo>
                <a:cubicBezTo>
                  <a:pt x="689" y="44"/>
                  <a:pt x="689" y="45"/>
                  <a:pt x="689" y="45"/>
                </a:cubicBezTo>
                <a:cubicBezTo>
                  <a:pt x="689" y="45"/>
                  <a:pt x="689" y="45"/>
                  <a:pt x="689" y="45"/>
                </a:cubicBezTo>
                <a:close/>
                <a:moveTo>
                  <a:pt x="688" y="39"/>
                </a:moveTo>
                <a:cubicBezTo>
                  <a:pt x="688" y="39"/>
                  <a:pt x="687" y="38"/>
                  <a:pt x="687" y="39"/>
                </a:cubicBezTo>
                <a:cubicBezTo>
                  <a:pt x="687" y="39"/>
                  <a:pt x="688" y="39"/>
                  <a:pt x="688" y="39"/>
                </a:cubicBezTo>
                <a:close/>
                <a:moveTo>
                  <a:pt x="688" y="41"/>
                </a:moveTo>
                <a:cubicBezTo>
                  <a:pt x="688" y="41"/>
                  <a:pt x="688" y="41"/>
                  <a:pt x="688" y="41"/>
                </a:cubicBezTo>
                <a:cubicBezTo>
                  <a:pt x="688" y="41"/>
                  <a:pt x="688" y="41"/>
                  <a:pt x="688" y="41"/>
                </a:cubicBezTo>
                <a:cubicBezTo>
                  <a:pt x="687" y="41"/>
                  <a:pt x="688" y="41"/>
                  <a:pt x="688" y="41"/>
                </a:cubicBezTo>
                <a:close/>
                <a:moveTo>
                  <a:pt x="699" y="40"/>
                </a:moveTo>
                <a:cubicBezTo>
                  <a:pt x="689" y="41"/>
                  <a:pt x="689" y="41"/>
                  <a:pt x="689" y="41"/>
                </a:cubicBezTo>
                <a:cubicBezTo>
                  <a:pt x="689" y="41"/>
                  <a:pt x="688" y="41"/>
                  <a:pt x="688" y="41"/>
                </a:cubicBezTo>
                <a:cubicBezTo>
                  <a:pt x="688" y="41"/>
                  <a:pt x="689" y="41"/>
                  <a:pt x="689" y="41"/>
                </a:cubicBezTo>
                <a:cubicBezTo>
                  <a:pt x="689" y="41"/>
                  <a:pt x="689" y="41"/>
                  <a:pt x="689" y="41"/>
                </a:cubicBezTo>
                <a:lnTo>
                  <a:pt x="699" y="40"/>
                </a:lnTo>
                <a:close/>
                <a:moveTo>
                  <a:pt x="688" y="41"/>
                </a:moveTo>
                <a:cubicBezTo>
                  <a:pt x="688" y="41"/>
                  <a:pt x="688" y="41"/>
                  <a:pt x="688" y="41"/>
                </a:cubicBezTo>
                <a:cubicBezTo>
                  <a:pt x="688" y="41"/>
                  <a:pt x="688" y="41"/>
                  <a:pt x="688" y="41"/>
                </a:cubicBezTo>
                <a:cubicBezTo>
                  <a:pt x="688" y="41"/>
                  <a:pt x="688" y="41"/>
                  <a:pt x="688" y="41"/>
                </a:cubicBezTo>
                <a:close/>
              </a:path>
            </a:pathLst>
          </a:custGeom>
          <a:solidFill>
            <a:schemeClr val="accent1"/>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4" name="DTP_Label|3">
            <a:extLst>
              <a:ext uri="{FF2B5EF4-FFF2-40B4-BE49-F238E27FC236}">
                <a16:creationId xmlns:a16="http://schemas.microsoft.com/office/drawing/2014/main" id="{A9CFA6D0-009A-4A62-AB66-388026D87C1C}"/>
              </a:ext>
            </a:extLst>
          </p:cNvPr>
          <p:cNvSpPr/>
          <p:nvPr/>
        </p:nvSpPr>
        <p:spPr>
          <a:xfrm>
            <a:off x="8311336" y="68524"/>
            <a:ext cx="832664" cy="248530"/>
          </a:xfrm>
          <a:prstGeom prst="rect">
            <a:avLst/>
          </a:prstGeom>
          <a:solidFill>
            <a:schemeClr val="bg1"/>
          </a:solidFill>
          <a:ln w="952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90043" tIns="46863" rIns="90043" bIns="46863" rtlCol="0" anchor="b" anchorCtr="0">
            <a:spAutoFit/>
          </a:bodyPr>
          <a:lstStyle/>
          <a:p>
            <a:pPr algn="r"/>
            <a:r>
              <a:rPr lang="en-GB" sz="1000" kern="0">
                <a:solidFill>
                  <a:schemeClr val="accent3"/>
                </a:solidFill>
              </a:rPr>
              <a:t>Confidential</a:t>
            </a:r>
            <a:endParaRPr lang="en-GB" sz="1000" kern="0" dirty="0">
              <a:solidFill>
                <a:schemeClr val="accent3"/>
              </a:solidFill>
            </a:endParaRPr>
          </a:p>
        </p:txBody>
      </p:sp>
    </p:spTree>
    <p:extLst>
      <p:ext uri="{BB962C8B-B14F-4D97-AF65-F5344CB8AC3E}">
        <p14:creationId xmlns:p14="http://schemas.microsoft.com/office/powerpoint/2010/main" val="35839424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FE09FB-CEB3-45EB-9CA3-FD8D2B630F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1"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85FE09FB-CEB3-45EB-9CA3-FD8D2B630F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9878E5C-4B80-473A-B890-0289C1C92B87}"/>
              </a:ext>
            </a:extLst>
          </p:cNvPr>
          <p:cNvPicPr>
            <a:picLocks noChangeAspect="1"/>
          </p:cNvPicPr>
          <p:nvPr/>
        </p:nvPicPr>
        <p:blipFill rotWithShape="1">
          <a:blip r:embed="rId7"/>
          <a:srcRect t="22332" b="41184"/>
          <a:stretch/>
        </p:blipFill>
        <p:spPr>
          <a:xfrm>
            <a:off x="0" y="1397000"/>
            <a:ext cx="9601200" cy="2335484"/>
          </a:xfrm>
          <a:prstGeom prst="rect">
            <a:avLst/>
          </a:prstGeom>
        </p:spPr>
      </p:pic>
      <p:sp>
        <p:nvSpPr>
          <p:cNvPr id="18" name="TextBox 17">
            <a:extLst>
              <a:ext uri="{FF2B5EF4-FFF2-40B4-BE49-F238E27FC236}">
                <a16:creationId xmlns:a16="http://schemas.microsoft.com/office/drawing/2014/main" id="{867BB532-7C43-43B9-8349-1228534AE371}"/>
              </a:ext>
            </a:extLst>
          </p:cNvPr>
          <p:cNvSpPr txBox="1"/>
          <p:nvPr/>
        </p:nvSpPr>
        <p:spPr>
          <a:xfrm>
            <a:off x="512865" y="4214658"/>
            <a:ext cx="2577976" cy="223556"/>
          </a:xfrm>
          <a:prstGeom prst="rect">
            <a:avLst/>
          </a:prstGeom>
          <a:noFill/>
        </p:spPr>
        <p:txBody>
          <a:bodyPr vert="horz" wrap="square" lIns="0" tIns="0" rIns="0" bIns="0" rtlCol="0" anchor="t" anchorCtr="0">
            <a:spAutoFit/>
          </a:bodyPr>
          <a:lstStyle/>
          <a:p>
            <a:r>
              <a:rPr lang="en-US" sz="1400" b="1" kern="0" dirty="0"/>
              <a:t>Length</a:t>
            </a:r>
          </a:p>
        </p:txBody>
      </p:sp>
      <p:cxnSp>
        <p:nvCxnSpPr>
          <p:cNvPr id="5" name="Straight Connector 4">
            <a:extLst>
              <a:ext uri="{FF2B5EF4-FFF2-40B4-BE49-F238E27FC236}">
                <a16:creationId xmlns:a16="http://schemas.microsoft.com/office/drawing/2014/main" id="{78102B48-9CE4-423C-8426-B1DA0931ADE4}"/>
              </a:ext>
            </a:extLst>
          </p:cNvPr>
          <p:cNvCxnSpPr/>
          <p:nvPr/>
        </p:nvCxnSpPr>
        <p:spPr>
          <a:xfrm>
            <a:off x="3444240" y="4186214"/>
            <a:ext cx="0" cy="2112986"/>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36EBF634-A08F-4954-BF48-06749B209E6B}"/>
              </a:ext>
            </a:extLst>
          </p:cNvPr>
          <p:cNvSpPr>
            <a:spLocks noGrp="1"/>
          </p:cNvSpPr>
          <p:nvPr>
            <p:ph type="title"/>
          </p:nvPr>
        </p:nvSpPr>
        <p:spPr/>
        <p:txBody>
          <a:bodyPr vert="horz"/>
          <a:lstStyle/>
          <a:p>
            <a:r>
              <a:rPr lang="en-US" b="1" dirty="0"/>
              <a:t>SOME TIPS FOR YOUR DOCUMENT…</a:t>
            </a:r>
            <a:endParaRPr lang="en-US" dirty="0"/>
          </a:p>
        </p:txBody>
      </p:sp>
      <p:sp>
        <p:nvSpPr>
          <p:cNvPr id="6" name="Rectangle 5">
            <a:extLst>
              <a:ext uri="{FF2B5EF4-FFF2-40B4-BE49-F238E27FC236}">
                <a16:creationId xmlns:a16="http://schemas.microsoft.com/office/drawing/2014/main" id="{21522A7C-A6C0-44FA-9178-3324EE8552CF}"/>
              </a:ext>
            </a:extLst>
          </p:cNvPr>
          <p:cNvSpPr/>
          <p:nvPr/>
        </p:nvSpPr>
        <p:spPr>
          <a:xfrm>
            <a:off x="457199" y="4632725"/>
            <a:ext cx="2828501" cy="1015663"/>
          </a:xfrm>
          <a:prstGeom prst="rect">
            <a:avLst/>
          </a:prstGeom>
        </p:spPr>
        <p:txBody>
          <a:bodyPr wrap="square">
            <a:spAutoFit/>
          </a:bodyPr>
          <a:lstStyle/>
          <a:p>
            <a:r>
              <a:rPr lang="en-US" sz="1200" kern="0" dirty="0">
                <a:solidFill>
                  <a:schemeClr val="tx2"/>
                </a:solidFill>
              </a:rPr>
              <a:t>To make sure your recommendations are clearly delivered, kindly </a:t>
            </a:r>
            <a:r>
              <a:rPr lang="en-US" sz="1200" b="1" kern="0" dirty="0">
                <a:solidFill>
                  <a:schemeClr val="tx2"/>
                </a:solidFill>
              </a:rPr>
              <a:t>control the main document within 20 content slides.</a:t>
            </a:r>
          </a:p>
          <a:p>
            <a:r>
              <a:rPr lang="en-US" sz="1200" kern="0" dirty="0">
                <a:solidFill>
                  <a:schemeClr val="tx2"/>
                </a:solidFill>
              </a:rPr>
              <a:t>(i.e. not including agenda pages or additional data analysis in appendix).</a:t>
            </a:r>
          </a:p>
        </p:txBody>
      </p:sp>
      <p:sp>
        <p:nvSpPr>
          <p:cNvPr id="21" name="TextBox 20">
            <a:extLst>
              <a:ext uri="{FF2B5EF4-FFF2-40B4-BE49-F238E27FC236}">
                <a16:creationId xmlns:a16="http://schemas.microsoft.com/office/drawing/2014/main" id="{C8A428E5-5A70-4CCF-97A0-4DFCCE894948}"/>
              </a:ext>
            </a:extLst>
          </p:cNvPr>
          <p:cNvSpPr txBox="1"/>
          <p:nvPr/>
        </p:nvSpPr>
        <p:spPr>
          <a:xfrm>
            <a:off x="3953571" y="4214658"/>
            <a:ext cx="2577976" cy="223556"/>
          </a:xfrm>
          <a:prstGeom prst="rect">
            <a:avLst/>
          </a:prstGeom>
          <a:noFill/>
        </p:spPr>
        <p:txBody>
          <a:bodyPr vert="horz" wrap="square" lIns="0" tIns="0" rIns="0" bIns="0" rtlCol="0" anchor="t" anchorCtr="0">
            <a:spAutoFit/>
          </a:bodyPr>
          <a:lstStyle/>
          <a:p>
            <a:r>
              <a:rPr lang="en-US" sz="1400" b="1" kern="0" dirty="0"/>
              <a:t>Additional Tips</a:t>
            </a:r>
          </a:p>
        </p:txBody>
      </p:sp>
      <p:sp>
        <p:nvSpPr>
          <p:cNvPr id="22" name="Rectangle 21">
            <a:extLst>
              <a:ext uri="{FF2B5EF4-FFF2-40B4-BE49-F238E27FC236}">
                <a16:creationId xmlns:a16="http://schemas.microsoft.com/office/drawing/2014/main" id="{09F0D1A5-46B3-4CEC-A99D-082437159B72}"/>
              </a:ext>
            </a:extLst>
          </p:cNvPr>
          <p:cNvSpPr/>
          <p:nvPr/>
        </p:nvSpPr>
        <p:spPr>
          <a:xfrm>
            <a:off x="3802931" y="4632725"/>
            <a:ext cx="5158190" cy="1577355"/>
          </a:xfrm>
          <a:prstGeom prst="rect">
            <a:avLst/>
          </a:prstGeom>
        </p:spPr>
        <p:txBody>
          <a:bodyPr wrap="square">
            <a:spAutoFit/>
          </a:bodyPr>
          <a:lstStyle/>
          <a:p>
            <a:pPr marL="180000" indent="-180000">
              <a:spcAft>
                <a:spcPts val="300"/>
              </a:spcAft>
              <a:buSzPct val="100000"/>
              <a:buFont typeface="Arial" panose="020B0604020202020204" pitchFamily="34" charset="0"/>
              <a:buChar char="•"/>
            </a:pPr>
            <a:r>
              <a:rPr lang="en-GB" sz="1200" b="1" dirty="0"/>
              <a:t>Layout: 4:3 </a:t>
            </a:r>
            <a:r>
              <a:rPr lang="en-GB" sz="1200" dirty="0"/>
              <a:t>slide scale is recommended</a:t>
            </a:r>
          </a:p>
          <a:p>
            <a:pPr marL="180000" indent="-180000">
              <a:spcAft>
                <a:spcPts val="300"/>
              </a:spcAft>
              <a:buSzPct val="100000"/>
              <a:buFont typeface="Arial" panose="020B0604020202020204" pitchFamily="34" charset="0"/>
              <a:buChar char="•"/>
            </a:pPr>
            <a:r>
              <a:rPr lang="en-US" altLang="zh-CN" sz="1200" b="1" dirty="0"/>
              <a:t>Language:</a:t>
            </a:r>
            <a:r>
              <a:rPr lang="en-US" altLang="zh-CN" sz="1200" dirty="0"/>
              <a:t> English is preferred t</a:t>
            </a:r>
            <a:r>
              <a:rPr lang="en-US" sz="1200" dirty="0"/>
              <a:t>hroughout the entire document</a:t>
            </a:r>
          </a:p>
          <a:p>
            <a:pPr marL="180000" indent="-180000">
              <a:spcAft>
                <a:spcPts val="300"/>
              </a:spcAft>
              <a:buSzPct val="100000"/>
              <a:buFont typeface="Arial" panose="020B0604020202020204" pitchFamily="34" charset="0"/>
              <a:buChar char="•"/>
            </a:pPr>
            <a:r>
              <a:rPr lang="en-US" sz="1200" dirty="0"/>
              <a:t>About </a:t>
            </a:r>
            <a:r>
              <a:rPr lang="en-US" sz="1200" b="1" dirty="0"/>
              <a:t>fonts</a:t>
            </a:r>
            <a:r>
              <a:rPr lang="en-US" sz="1200" dirty="0"/>
              <a:t>, some easy ways to make your document look professional:</a:t>
            </a:r>
          </a:p>
          <a:p>
            <a:pPr marL="360000" lvl="1" indent="-180000">
              <a:spcAft>
                <a:spcPts val="300"/>
              </a:spcAft>
              <a:buSzPct val="100000"/>
              <a:buFont typeface="Arial" panose="020B0604020202020204" pitchFamily="34" charset="0"/>
              <a:buChar char="–"/>
            </a:pPr>
            <a:r>
              <a:rPr lang="en-GB" sz="1200" dirty="0"/>
              <a:t>Using </a:t>
            </a:r>
            <a:r>
              <a:rPr lang="en-GB" sz="1200" b="1" dirty="0"/>
              <a:t>Calibri </a:t>
            </a:r>
            <a:r>
              <a:rPr lang="en-GB" sz="1200" dirty="0"/>
              <a:t>font</a:t>
            </a:r>
          </a:p>
          <a:p>
            <a:pPr marL="360000" lvl="1" indent="-180000">
              <a:spcAft>
                <a:spcPts val="300"/>
              </a:spcAft>
              <a:buSzPct val="100000"/>
              <a:buFont typeface="Arial" panose="020B0604020202020204" pitchFamily="34" charset="0"/>
              <a:buChar char="–"/>
            </a:pPr>
            <a:r>
              <a:rPr lang="en-US" sz="1200" dirty="0"/>
              <a:t>Minimum 20 font size for title, 14 font size for slide taglines, 12 font size for main body text</a:t>
            </a:r>
          </a:p>
          <a:p>
            <a:pPr marL="180000" indent="-180000">
              <a:spcAft>
                <a:spcPts val="300"/>
              </a:spcAft>
              <a:buSzPct val="100000"/>
              <a:buFont typeface="Arial" panose="020B0604020202020204" pitchFamily="34" charset="0"/>
              <a:buChar char="•"/>
            </a:pPr>
            <a:r>
              <a:rPr lang="en-US" sz="1200" dirty="0"/>
              <a:t>Format: .pdf, .ppt,.pptx are all accepted, but </a:t>
            </a:r>
            <a:r>
              <a:rPr lang="en-US" sz="1200" b="1" dirty="0"/>
              <a:t>.pdf </a:t>
            </a:r>
            <a:r>
              <a:rPr lang="en-US" sz="1200" dirty="0"/>
              <a:t>is highly recommended</a:t>
            </a:r>
          </a:p>
        </p:txBody>
      </p:sp>
      <p:sp>
        <p:nvSpPr>
          <p:cNvPr id="10" name="DTP_Label|3">
            <a:extLst>
              <a:ext uri="{FF2B5EF4-FFF2-40B4-BE49-F238E27FC236}">
                <a16:creationId xmlns:a16="http://schemas.microsoft.com/office/drawing/2014/main" id="{E222B93F-D2ED-4945-A8F8-AF412F63397C}"/>
              </a:ext>
            </a:extLst>
          </p:cNvPr>
          <p:cNvSpPr/>
          <p:nvPr/>
        </p:nvSpPr>
        <p:spPr>
          <a:xfrm>
            <a:off x="8311336" y="63500"/>
            <a:ext cx="832664" cy="248530"/>
          </a:xfrm>
          <a:prstGeom prst="rect">
            <a:avLst/>
          </a:prstGeom>
          <a:solidFill>
            <a:schemeClr val="bg1"/>
          </a:solidFill>
          <a:ln w="952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90043" tIns="46863" rIns="90043" bIns="46863" rtlCol="0" anchor="b" anchorCtr="0">
            <a:spAutoFit/>
          </a:bodyPr>
          <a:lstStyle/>
          <a:p>
            <a:pPr algn="r"/>
            <a:r>
              <a:rPr lang="en-GB" sz="1000" kern="0">
                <a:solidFill>
                  <a:schemeClr val="accent3"/>
                </a:solidFill>
              </a:rPr>
              <a:t>Confidential</a:t>
            </a:r>
            <a:endParaRPr lang="en-GB" sz="1000" kern="0" dirty="0">
              <a:solidFill>
                <a:schemeClr val="accent3"/>
              </a:solidFill>
            </a:endParaRPr>
          </a:p>
        </p:txBody>
      </p:sp>
    </p:spTree>
    <p:extLst>
      <p:ext uri="{BB962C8B-B14F-4D97-AF65-F5344CB8AC3E}">
        <p14:creationId xmlns:p14="http://schemas.microsoft.com/office/powerpoint/2010/main" val="1165703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1E0D3A-F4AE-4085-AC0E-485DE8A70FF6}"/>
              </a:ext>
            </a:extLst>
          </p:cNvPr>
          <p:cNvGraphicFramePr>
            <a:graphicFrameLocks noChangeAspect="1"/>
          </p:cNvGraphicFramePr>
          <p:nvPr>
            <p:custDataLst>
              <p:tags r:id="rId2"/>
            </p:custDataLst>
            <p:extLst>
              <p:ext uri="{D42A27DB-BD31-4B8C-83A1-F6EECF244321}">
                <p14:modId xmlns:p14="http://schemas.microsoft.com/office/powerpoint/2010/main" val="1243771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1"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771596-90F7-46C5-BEBB-D92137906C9F}"/>
              </a:ext>
            </a:extLst>
          </p:cNvPr>
          <p:cNvSpPr>
            <a:spLocks noGrp="1"/>
          </p:cNvSpPr>
          <p:nvPr>
            <p:ph type="title"/>
          </p:nvPr>
        </p:nvSpPr>
        <p:spPr/>
        <p:txBody>
          <a:bodyPr vert="horz"/>
          <a:lstStyle/>
          <a:p>
            <a:r>
              <a:rPr lang="en-US" dirty="0"/>
              <a:t>What should I expect after the slide submission?</a:t>
            </a:r>
          </a:p>
        </p:txBody>
      </p:sp>
      <p:sp>
        <p:nvSpPr>
          <p:cNvPr id="6" name="Text Placeholder 5">
            <a:extLst>
              <a:ext uri="{FF2B5EF4-FFF2-40B4-BE49-F238E27FC236}">
                <a16:creationId xmlns:a16="http://schemas.microsoft.com/office/drawing/2014/main" id="{6A09BDCC-BEF8-4E42-9640-CD4DE53EA5AF}"/>
              </a:ext>
            </a:extLst>
          </p:cNvPr>
          <p:cNvSpPr>
            <a:spLocks noGrp="1"/>
          </p:cNvSpPr>
          <p:nvPr>
            <p:ph type="body" idx="10"/>
          </p:nvPr>
        </p:nvSpPr>
        <p:spPr/>
        <p:txBody>
          <a:bodyPr/>
          <a:lstStyle/>
          <a:p>
            <a:r>
              <a:rPr lang="en-US" sz="1400" dirty="0"/>
              <a:t>To the Final Round…</a:t>
            </a:r>
          </a:p>
        </p:txBody>
      </p:sp>
      <p:sp>
        <p:nvSpPr>
          <p:cNvPr id="3" name="Content Placeholder 2">
            <a:extLst>
              <a:ext uri="{FF2B5EF4-FFF2-40B4-BE49-F238E27FC236}">
                <a16:creationId xmlns:a16="http://schemas.microsoft.com/office/drawing/2014/main" id="{D959AA63-867B-412F-944B-365899B92A02}"/>
              </a:ext>
            </a:extLst>
          </p:cNvPr>
          <p:cNvSpPr>
            <a:spLocks noGrp="1"/>
          </p:cNvSpPr>
          <p:nvPr>
            <p:ph sz="half" idx="11"/>
          </p:nvPr>
        </p:nvSpPr>
        <p:spPr/>
        <p:txBody>
          <a:bodyPr/>
          <a:lstStyle/>
          <a:p>
            <a:pPr>
              <a:spcBef>
                <a:spcPts val="1200"/>
              </a:spcBef>
              <a:buSzPct val="100000"/>
            </a:pPr>
            <a:r>
              <a:rPr lang="en-US" altLang="ja-JP" sz="1400" dirty="0">
                <a:solidFill>
                  <a:srgbClr val="000000"/>
                </a:solidFill>
              </a:rPr>
              <a:t>All submissions will be reviewed carefully by Oliver Wyman and top teams will be invited to a final presentation</a:t>
            </a:r>
            <a:endParaRPr lang="en-US" altLang="ja-JP" sz="1400" dirty="0">
              <a:solidFill>
                <a:srgbClr val="FF0000"/>
              </a:solidFill>
            </a:endParaRPr>
          </a:p>
          <a:p>
            <a:pPr>
              <a:spcBef>
                <a:spcPts val="1200"/>
              </a:spcBef>
              <a:buSzPct val="100000"/>
            </a:pPr>
            <a:r>
              <a:rPr lang="en-US" altLang="zh-CN" sz="1400" dirty="0">
                <a:solidFill>
                  <a:srgbClr val="000000"/>
                </a:solidFill>
              </a:rPr>
              <a:t>The invitation to the Final Round will be released in early May</a:t>
            </a:r>
          </a:p>
          <a:p>
            <a:pPr>
              <a:spcBef>
                <a:spcPts val="1200"/>
              </a:spcBef>
              <a:buSzPct val="100000"/>
            </a:pPr>
            <a:r>
              <a:rPr lang="en-US" altLang="zh-CN" sz="1400" dirty="0">
                <a:solidFill>
                  <a:srgbClr val="000000"/>
                </a:solidFill>
              </a:rPr>
              <a:t>The Final Round Presentation will take place around end of May</a:t>
            </a:r>
            <a:endParaRPr lang="en-US" sz="1400" dirty="0"/>
          </a:p>
        </p:txBody>
      </p:sp>
      <p:sp>
        <p:nvSpPr>
          <p:cNvPr id="8" name="Text Placeholder 7">
            <a:extLst>
              <a:ext uri="{FF2B5EF4-FFF2-40B4-BE49-F238E27FC236}">
                <a16:creationId xmlns:a16="http://schemas.microsoft.com/office/drawing/2014/main" id="{567B9FFE-B7EF-4D90-BF06-1B6DA00BE4C0}"/>
              </a:ext>
            </a:extLst>
          </p:cNvPr>
          <p:cNvSpPr>
            <a:spLocks noGrp="1"/>
          </p:cNvSpPr>
          <p:nvPr>
            <p:ph type="body" sz="quarter" idx="13"/>
          </p:nvPr>
        </p:nvSpPr>
        <p:spPr/>
        <p:txBody>
          <a:bodyPr/>
          <a:lstStyle/>
          <a:p>
            <a:r>
              <a:rPr lang="en-GB" sz="1400" dirty="0"/>
              <a:t>How will my slides be judged?</a:t>
            </a:r>
          </a:p>
          <a:p>
            <a:pPr>
              <a:buNone/>
            </a:pPr>
            <a:endParaRPr lang="en-US" sz="1400" dirty="0"/>
          </a:p>
        </p:txBody>
      </p:sp>
      <p:sp>
        <p:nvSpPr>
          <p:cNvPr id="7" name="Content Placeholder 6">
            <a:extLst>
              <a:ext uri="{FF2B5EF4-FFF2-40B4-BE49-F238E27FC236}">
                <a16:creationId xmlns:a16="http://schemas.microsoft.com/office/drawing/2014/main" id="{E54C2AC9-EC48-419B-AF7B-5C4FCA23A9C1}"/>
              </a:ext>
            </a:extLst>
          </p:cNvPr>
          <p:cNvSpPr>
            <a:spLocks noGrp="1"/>
          </p:cNvSpPr>
          <p:nvPr>
            <p:ph sz="quarter" idx="12"/>
          </p:nvPr>
        </p:nvSpPr>
        <p:spPr/>
        <p:txBody>
          <a:bodyPr/>
          <a:lstStyle/>
          <a:p>
            <a:pPr marL="169863" indent="-169863" defTabSz="979488">
              <a:spcBef>
                <a:spcPts val="1200"/>
              </a:spcBef>
            </a:pPr>
            <a:r>
              <a:rPr lang="en-US" sz="1400" dirty="0"/>
              <a:t>Judges will evaluate submitted documents based on such factors as the breadth and depth of analysis, relevance, originality, persuasiveness and overall presentation</a:t>
            </a:r>
          </a:p>
          <a:p>
            <a:pPr marL="169863" indent="-169863" defTabSz="979488">
              <a:spcBef>
                <a:spcPts val="1200"/>
              </a:spcBef>
            </a:pPr>
            <a:r>
              <a:rPr lang="en-US" sz="1400" dirty="0"/>
              <a:t>A panel of judges will evaluate your document mainly based on the following criteria:</a:t>
            </a:r>
          </a:p>
          <a:p>
            <a:pPr lvl="1" defTabSz="979488">
              <a:spcBef>
                <a:spcPts val="600"/>
              </a:spcBef>
              <a:buSzPct val="100000"/>
              <a:tabLst>
                <a:tab pos="3030538" algn="r"/>
              </a:tabLst>
            </a:pPr>
            <a:r>
              <a:rPr lang="en-US" sz="1400" dirty="0"/>
              <a:t>Accurate and deep fact-based analysis </a:t>
            </a:r>
          </a:p>
          <a:p>
            <a:pPr lvl="1" defTabSz="979488">
              <a:spcBef>
                <a:spcPts val="600"/>
              </a:spcBef>
              <a:buSzPct val="100000"/>
              <a:tabLst>
                <a:tab pos="3030538" algn="r"/>
              </a:tabLst>
            </a:pPr>
            <a:r>
              <a:rPr lang="en-US" altLang="zh-CN" sz="1400" dirty="0"/>
              <a:t>Clear logic in developing recommendation</a:t>
            </a:r>
          </a:p>
          <a:p>
            <a:pPr lvl="1" defTabSz="979488">
              <a:spcBef>
                <a:spcPts val="600"/>
              </a:spcBef>
              <a:buSzPct val="100000"/>
              <a:tabLst>
                <a:tab pos="3030538" algn="r"/>
              </a:tabLst>
            </a:pPr>
            <a:r>
              <a:rPr lang="en-US" sz="1400" dirty="0"/>
              <a:t>Impactful business recommendation</a:t>
            </a:r>
          </a:p>
          <a:p>
            <a:pPr lvl="1" defTabSz="979488">
              <a:spcBef>
                <a:spcPts val="600"/>
              </a:spcBef>
              <a:buSzPct val="100000"/>
              <a:tabLst>
                <a:tab pos="3030538" algn="r"/>
              </a:tabLst>
            </a:pPr>
            <a:r>
              <a:rPr lang="en-US" sz="1400" dirty="0"/>
              <a:t>Reader-friendly document</a:t>
            </a:r>
          </a:p>
        </p:txBody>
      </p:sp>
      <p:sp>
        <p:nvSpPr>
          <p:cNvPr id="9" name="Footnote">
            <a:extLst>
              <a:ext uri="{FF2B5EF4-FFF2-40B4-BE49-F238E27FC236}">
                <a16:creationId xmlns:a16="http://schemas.microsoft.com/office/drawing/2014/main" id="{099C2532-E687-49AF-B14F-EA3DDACE4917}"/>
              </a:ext>
            </a:extLst>
          </p:cNvPr>
          <p:cNvSpPr/>
          <p:nvPr/>
        </p:nvSpPr>
        <p:spPr>
          <a:xfrm>
            <a:off x="457200" y="6204537"/>
            <a:ext cx="8686800" cy="123111"/>
          </a:xfrm>
          <a:prstGeom prst="rect">
            <a:avLst/>
          </a:prstGeom>
        </p:spPr>
        <p:txBody>
          <a:bodyPr vert="horz" lIns="0" tIns="0" rIns="0" bIns="0" rtlCol="0" anchor="b" anchorCtr="0">
            <a:spAutoFit/>
          </a:bodyPr>
          <a:lstStyle/>
          <a:p>
            <a:r>
              <a:rPr lang="en-US" sz="800" kern="0" dirty="0"/>
              <a:t>1. Teams invited to the final round will be notified on further details.</a:t>
            </a:r>
          </a:p>
        </p:txBody>
      </p:sp>
      <p:sp>
        <p:nvSpPr>
          <p:cNvPr id="11" name="DTP_Label|3">
            <a:extLst>
              <a:ext uri="{FF2B5EF4-FFF2-40B4-BE49-F238E27FC236}">
                <a16:creationId xmlns:a16="http://schemas.microsoft.com/office/drawing/2014/main" id="{4FFB5E09-39F8-425D-9102-DB1C43C4A5DB}"/>
              </a:ext>
            </a:extLst>
          </p:cNvPr>
          <p:cNvSpPr/>
          <p:nvPr/>
        </p:nvSpPr>
        <p:spPr>
          <a:xfrm>
            <a:off x="8311336" y="63500"/>
            <a:ext cx="832664" cy="248530"/>
          </a:xfrm>
          <a:prstGeom prst="rect">
            <a:avLst/>
          </a:prstGeom>
          <a:solidFill>
            <a:schemeClr val="bg1"/>
          </a:solidFill>
          <a:ln w="952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90043" tIns="46863" rIns="90043" bIns="46863" rtlCol="0" anchor="b" anchorCtr="0">
            <a:spAutoFit/>
          </a:bodyPr>
          <a:lstStyle/>
          <a:p>
            <a:pPr algn="r"/>
            <a:r>
              <a:rPr lang="en-GB" sz="1000" kern="0">
                <a:solidFill>
                  <a:schemeClr val="accent3"/>
                </a:solidFill>
              </a:rPr>
              <a:t>Confidential</a:t>
            </a:r>
            <a:endParaRPr lang="en-GB" sz="1000" kern="0" dirty="0">
              <a:solidFill>
                <a:schemeClr val="accent3"/>
              </a:solidFill>
            </a:endParaRPr>
          </a:p>
        </p:txBody>
      </p:sp>
    </p:spTree>
    <p:extLst>
      <p:ext uri="{BB962C8B-B14F-4D97-AF65-F5344CB8AC3E}">
        <p14:creationId xmlns:p14="http://schemas.microsoft.com/office/powerpoint/2010/main" val="3218815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62&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chDecimalSymbol17909&gt;.&lt;/m_chDecimalSymbol17909&gt;&lt;m_nGroupingDigits17909 val=&quot;2147483647&quot;/&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wNRZA.SOa23mpKUG.NY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LPiFS0f9aHqLhKsboU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S3yLP8pRjGMdwu8zXKd7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oFuJeexEvuPehZcii5C9A"/>
</p:tagLst>
</file>

<file path=ppt/theme/theme1.xml><?xml version="1.0" encoding="utf-8"?>
<a:theme xmlns:a="http://schemas.openxmlformats.org/drawingml/2006/main" name="Oliver Wyman">
  <a:themeElements>
    <a:clrScheme name="Oliver Wyman">
      <a:dk1>
        <a:sysClr val="windowText" lastClr="000000"/>
      </a:dk1>
      <a:lt1>
        <a:sysClr val="window" lastClr="FFFFFF"/>
      </a:lt1>
      <a:dk2>
        <a:srgbClr val="000000"/>
      </a:dk2>
      <a:lt2>
        <a:srgbClr val="FFFFFF"/>
      </a:lt2>
      <a:accent1>
        <a:srgbClr val="080AAE"/>
      </a:accent1>
      <a:accent2>
        <a:srgbClr val="06C9F4"/>
      </a:accent2>
      <a:accent3>
        <a:srgbClr val="949494"/>
      </a:accent3>
      <a:accent4>
        <a:srgbClr val="DCDCDC"/>
      </a:accent4>
      <a:accent5>
        <a:srgbClr val="00582D"/>
      </a:accent5>
      <a:accent6>
        <a:srgbClr val="26CF73"/>
      </a:accent6>
      <a:hlink>
        <a:srgbClr val="2C6EF2"/>
      </a:hlink>
      <a:folHlink>
        <a:srgbClr val="2C6EF2"/>
      </a:folHlink>
    </a:clrScheme>
    <a:fontScheme name="Oliver Wyman - PPT">
      <a:majorFont>
        <a:latin typeface="Oswald Bold"/>
        <a:ea typeface=""/>
        <a:cs typeface=""/>
        <a:font script="Jpan" typeface="Meiryo"/>
        <a:font script="Hang" typeface="맑은 고딕"/>
        <a:font script="Hans" typeface="DengXian Bold"/>
        <a:font script="Hant" typeface="DengXian Bold"/>
        <a:font script="Arab" typeface="Dubai Medium"/>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Dark Purple">
      <a:srgbClr val="5F34A4"/>
    </a:custClr>
    <a:custClr name="Purple">
      <a:srgbClr val="8A75FF"/>
    </a:custClr>
    <a:custClr name="Light Purple">
      <a:srgbClr val="DCDAEE"/>
    </a:custClr>
    <a:custClr name="Dark Orange">
      <a:srgbClr val="A34400"/>
    </a:custClr>
    <a:custClr name="Orange">
      <a:srgbClr val="FF8C00"/>
    </a:custClr>
    <a:custClr name="Light Orange">
      <a:srgbClr val="FED8B3"/>
    </a:custClr>
    <a:custClr name="Dark Yellow">
      <a:srgbClr val="7E5D00"/>
    </a:custClr>
    <a:custClr name="Yellow">
      <a:srgbClr val="FFBE00"/>
    </a:custClr>
    <a:custClr name="Light Yellow">
      <a:srgbClr val="FFE8BA"/>
    </a:custClr>
    <a:custClr name="Light Green">
      <a:srgbClr val="C5E8C9"/>
    </a:custClr>
    <a:custClr name="Dark Red">
      <a:srgbClr val="7D0204"/>
    </a:custClr>
    <a:custClr name="Red">
      <a:srgbClr val="FF2B3D"/>
    </a:custClr>
    <a:custClr name="Light Red">
      <a:srgbClr val="FBC9BD"/>
    </a:custClr>
    <a:custClr name="Night Gray">
      <a:srgbClr val="646464"/>
    </a:custClr>
    <a:custClr name="Muted Gray">
      <a:srgbClr val="C3C3C3"/>
    </a:custClr>
    <a:custClr name="Blank (White)">
      <a:srgbClr val="FFFFFF"/>
    </a:custClr>
    <a:custClr name="Table Gray">
      <a:srgbClr val="EBEBEB"/>
    </a:custClr>
    <a:custClr name="Table Blue">
      <a:srgbClr val="D3E4F5"/>
    </a:custClr>
    <a:custClr name="Blank (White)">
      <a:srgbClr val="FFFFFF"/>
    </a:custClr>
    <a:custClr name="Digital">
      <a:srgbClr val="2C6EF2"/>
    </a:custClr>
  </a:custClrLst>
  <a:extLst>
    <a:ext uri="{05A4C25C-085E-4340-85A3-A5531E510DB2}">
      <thm15:themeFamily xmlns:thm15="http://schemas.microsoft.com/office/thememl/2012/main" name="Classic Blank.potx" id="{3289403B-7F44-4A40-92D0-F90844106B02}" vid="{9EBBC6D1-B507-450F-B9AD-8DC0902FF8E3}"/>
    </a:ext>
  </a:extLst>
</a:theme>
</file>

<file path=ppt/theme/theme2.xml><?xml version="1.0" encoding="utf-8"?>
<a:theme xmlns:a="http://schemas.openxmlformats.org/drawingml/2006/main" name="Oliver Wyman">
  <a:themeElements>
    <a:clrScheme name="Oliver Wyman">
      <a:dk1>
        <a:sysClr val="windowText" lastClr="000000"/>
      </a:dk1>
      <a:lt1>
        <a:sysClr val="window" lastClr="FFFFFF"/>
      </a:lt1>
      <a:dk2>
        <a:srgbClr val="000000"/>
      </a:dk2>
      <a:lt2>
        <a:srgbClr val="FFFFFF"/>
      </a:lt2>
      <a:accent1>
        <a:srgbClr val="080AAE"/>
      </a:accent1>
      <a:accent2>
        <a:srgbClr val="06C9F4"/>
      </a:accent2>
      <a:accent3>
        <a:srgbClr val="949494"/>
      </a:accent3>
      <a:accent4>
        <a:srgbClr val="DCDCDC"/>
      </a:accent4>
      <a:accent5>
        <a:srgbClr val="00582D"/>
      </a:accent5>
      <a:accent6>
        <a:srgbClr val="26CF73"/>
      </a:accent6>
      <a:hlink>
        <a:srgbClr val="2C6EF2"/>
      </a:hlink>
      <a:folHlink>
        <a:srgbClr val="2C6EF2"/>
      </a:folHlink>
    </a:clrScheme>
    <a:fontScheme name="Oliver Wyman - PPT">
      <a:majorFont>
        <a:latin typeface="Oswald Bold"/>
        <a:ea typeface=""/>
        <a:cs typeface=""/>
        <a:font script="Jpan" typeface="Meiryo"/>
        <a:font script="Hang" typeface="맑은 고딕"/>
        <a:font script="Hans" typeface="DengXian Bold"/>
        <a:font script="Hant" typeface="DengXian Bold"/>
        <a:font script="Arab" typeface="Dubai Medium"/>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Dark Purple">
      <a:srgbClr val="5F34A4"/>
    </a:custClr>
    <a:custClr name="Purple">
      <a:srgbClr val="8A75FF"/>
    </a:custClr>
    <a:custClr name="Light Purple">
      <a:srgbClr val="DCDAEE"/>
    </a:custClr>
    <a:custClr name="Dark Orange">
      <a:srgbClr val="A34400"/>
    </a:custClr>
    <a:custClr name="Orange">
      <a:srgbClr val="FF8C00"/>
    </a:custClr>
    <a:custClr name="Light Orange">
      <a:srgbClr val="FED8B3"/>
    </a:custClr>
    <a:custClr name="Dark Yellow">
      <a:srgbClr val="7E5D00"/>
    </a:custClr>
    <a:custClr name="Yellow">
      <a:srgbClr val="FFBE00"/>
    </a:custClr>
    <a:custClr name="Light Yellow">
      <a:srgbClr val="FFE8BA"/>
    </a:custClr>
    <a:custClr name="Light Green">
      <a:srgbClr val="C5E8C9"/>
    </a:custClr>
    <a:custClr name="Dark Red">
      <a:srgbClr val="7D0204"/>
    </a:custClr>
    <a:custClr name="Red">
      <a:srgbClr val="FF2B3D"/>
    </a:custClr>
    <a:custClr name="Light Red">
      <a:srgbClr val="FBC9BD"/>
    </a:custClr>
    <a:custClr name="Night Gray">
      <a:srgbClr val="646464"/>
    </a:custClr>
    <a:custClr name="Muted Gray">
      <a:srgbClr val="C3C3C3"/>
    </a:custClr>
    <a:custClr name="Blank (White)">
      <a:srgbClr val="FFFFFF"/>
    </a:custClr>
    <a:custClr name="Table Gray">
      <a:srgbClr val="EBEBEB"/>
    </a:custClr>
    <a:custClr name="Table Blue">
      <a:srgbClr val="D3E4F5"/>
    </a:custClr>
    <a:custClr name="Blank (White)">
      <a:srgbClr val="FFFFFF"/>
    </a:custClr>
    <a:custClr name="Digital">
      <a:srgbClr val="2C6EF2"/>
    </a:custClr>
  </a:custClrLst>
  <a:extLst>
    <a:ext uri="{05A4C25C-085E-4340-85A3-A5531E510DB2}">
      <thm15:themeFamily xmlns:thm15="http://schemas.microsoft.com/office/thememl/2012/main" name="Classic Blank.potx" id="{3289403B-7F44-4A40-92D0-F90844106B02}" vid="{9EBBC6D1-B507-450F-B9AD-8DC0902FF8E3}"/>
    </a:ext>
  </a:extLst>
</a:theme>
</file>

<file path=ppt/theme/theme3.xml><?xml version="1.0" encoding="utf-8"?>
<a:theme xmlns:a="http://schemas.openxmlformats.org/drawingml/2006/main" name="Oliver Wyman">
  <a:themeElements>
    <a:clrScheme name="Oliver Wyman">
      <a:dk1>
        <a:sysClr val="windowText" lastClr="000000"/>
      </a:dk1>
      <a:lt1>
        <a:sysClr val="window" lastClr="FFFFFF"/>
      </a:lt1>
      <a:dk2>
        <a:srgbClr val="000000"/>
      </a:dk2>
      <a:lt2>
        <a:srgbClr val="FFFFFF"/>
      </a:lt2>
      <a:accent1>
        <a:srgbClr val="080AAE"/>
      </a:accent1>
      <a:accent2>
        <a:srgbClr val="06C9F4"/>
      </a:accent2>
      <a:accent3>
        <a:srgbClr val="949494"/>
      </a:accent3>
      <a:accent4>
        <a:srgbClr val="DCDCDC"/>
      </a:accent4>
      <a:accent5>
        <a:srgbClr val="00582D"/>
      </a:accent5>
      <a:accent6>
        <a:srgbClr val="26CF73"/>
      </a:accent6>
      <a:hlink>
        <a:srgbClr val="2C6EF2"/>
      </a:hlink>
      <a:folHlink>
        <a:srgbClr val="2C6EF2"/>
      </a:folHlink>
    </a:clrScheme>
    <a:fontScheme name="Oliver Wyman - PPT">
      <a:majorFont>
        <a:latin typeface="Oswald Bold"/>
        <a:ea typeface=""/>
        <a:cs typeface=""/>
        <a:font script="Jpan" typeface="Meiryo"/>
        <a:font script="Hang" typeface="맑은 고딕"/>
        <a:font script="Hans" typeface="DengXian Bold"/>
        <a:font script="Hant" typeface="DengXian Bold"/>
        <a:font script="Arab" typeface="Dubai Medium"/>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Dark Purple">
      <a:srgbClr val="5F34A4"/>
    </a:custClr>
    <a:custClr name="Purple">
      <a:srgbClr val="8A75FF"/>
    </a:custClr>
    <a:custClr name="Light Purple">
      <a:srgbClr val="DCDAEE"/>
    </a:custClr>
    <a:custClr name="Dark Orange">
      <a:srgbClr val="A34400"/>
    </a:custClr>
    <a:custClr name="Orange">
      <a:srgbClr val="FF8C00"/>
    </a:custClr>
    <a:custClr name="Light Orange">
      <a:srgbClr val="FED8B3"/>
    </a:custClr>
    <a:custClr name="Dark Yellow">
      <a:srgbClr val="7E5D00"/>
    </a:custClr>
    <a:custClr name="Yellow">
      <a:srgbClr val="FFBE00"/>
    </a:custClr>
    <a:custClr name="Light Yellow">
      <a:srgbClr val="FFE8BA"/>
    </a:custClr>
    <a:custClr name="Light Green">
      <a:srgbClr val="C5E8C9"/>
    </a:custClr>
    <a:custClr name="Dark Red">
      <a:srgbClr val="7D0204"/>
    </a:custClr>
    <a:custClr name="Red">
      <a:srgbClr val="FF2B3D"/>
    </a:custClr>
    <a:custClr name="Light Red">
      <a:srgbClr val="FBC9BD"/>
    </a:custClr>
    <a:custClr name="Night Gray">
      <a:srgbClr val="646464"/>
    </a:custClr>
    <a:custClr name="Muted Gray">
      <a:srgbClr val="C3C3C3"/>
    </a:custClr>
    <a:custClr name="Blank (White)">
      <a:srgbClr val="FFFFFF"/>
    </a:custClr>
    <a:custClr name="Table Gray">
      <a:srgbClr val="EBEBEB"/>
    </a:custClr>
    <a:custClr name="Table Blue">
      <a:srgbClr val="D3E4F5"/>
    </a:custClr>
    <a:custClr name="Blank (White)">
      <a:srgbClr val="FFFFFF"/>
    </a:custClr>
    <a:custClr name="Digital">
      <a:srgbClr val="2C6EF2"/>
    </a:custClr>
  </a:custClrLst>
  <a:extLst>
    <a:ext uri="{05A4C25C-085E-4340-85A3-A5531E510DB2}">
      <thm15:themeFamily xmlns:thm15="http://schemas.microsoft.com/office/thememl/2012/main" name="Classic Blank.potx" id="{3289403B-7F44-4A40-92D0-F90844106B02}" vid="{9EBBC6D1-B507-450F-B9AD-8DC0902FF8E3}"/>
    </a:ext>
  </a:ext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OW New Classic Blank</Template>
  <TotalTime>2180</TotalTime>
  <Words>633</Words>
  <Application>Microsoft Office PowerPoint</Application>
  <PresentationFormat>Custom</PresentationFormat>
  <Paragraphs>73</Paragraphs>
  <Slides>11</Slides>
  <Notes>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Oswald Bold</vt:lpstr>
      <vt:lpstr>Arial</vt:lpstr>
      <vt:lpstr>Calibri</vt:lpstr>
      <vt:lpstr>Oliver Wyman</vt:lpstr>
      <vt:lpstr>think-cell Slide</vt:lpstr>
      <vt:lpstr>PowerPoint Presentation</vt:lpstr>
      <vt:lpstr>PowerPoint Presentation</vt:lpstr>
      <vt:lpstr>PowerPoint Presentation</vt:lpstr>
      <vt:lpstr>Welcome to 2022 Oliver Wyman Impact Mainland China case competition!</vt:lpstr>
      <vt:lpstr>CASE QUESTIONs</vt:lpstr>
      <vt:lpstr>PowerPoint Presentation</vt:lpstr>
      <vt:lpstr>FOR THE 1ST ROUND SUBMISSION…</vt:lpstr>
      <vt:lpstr>SOME TIPS FOR YOUR DOCUMENT…</vt:lpstr>
      <vt:lpstr>What should I expect after the slide submission?</vt:lpstr>
      <vt:lpstr>Last but not the leas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2020 Oliver Wyman Impact Mainland China Case Competition!</dc:title>
  <dc:creator>Wan, Azureen</dc:creator>
  <cp:keywords>OW20.ClassicBlank.20200101.1</cp:keywords>
  <cp:lastModifiedBy>Wang, Hang</cp:lastModifiedBy>
  <cp:revision>216</cp:revision>
  <dcterms:created xsi:type="dcterms:W3CDTF">2020-03-12T02:31:08Z</dcterms:created>
  <dcterms:modified xsi:type="dcterms:W3CDTF">2022-03-29T10:3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0/01/01</vt:lpwstr>
  </property>
  <property fmtid="{D5CDD505-2E9C-101B-9397-08002B2CF9AE}" pid="3" name="DocumentMSOLanguageID">
    <vt:lpwstr>msoLanguageIDEnglishUK</vt:lpwstr>
  </property>
</Properties>
</file>